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notesSlides/notesSlide24.xml" ContentType="application/vnd.openxmlformats-officedocument.presentationml.notesSlide+xml"/>
  <Override PartName="/ppt/tags/tag25.xml" ContentType="application/vnd.openxmlformats-officedocument.presentationml.tags+xml"/>
  <Override PartName="/ppt/notesSlides/notesSlide25.xml" ContentType="application/vnd.openxmlformats-officedocument.presentationml.notesSlide+xml"/>
  <Override PartName="/ppt/tags/tag26.xml" ContentType="application/vnd.openxmlformats-officedocument.presentationml.tags+xml"/>
  <Override PartName="/ppt/notesSlides/notesSlide26.xml" ContentType="application/vnd.openxmlformats-officedocument.presentationml.notesSlide+xml"/>
  <Override PartName="/ppt/tags/tag27.xml" ContentType="application/vnd.openxmlformats-officedocument.presentationml.tags+xml"/>
  <Override PartName="/ppt/notesSlides/notesSlide27.xml" ContentType="application/vnd.openxmlformats-officedocument.presentationml.notesSlide+xml"/>
  <Override PartName="/ppt/tags/tag28.xml" ContentType="application/vnd.openxmlformats-officedocument.presentationml.tags+xml"/>
  <Override PartName="/ppt/notesSlides/notesSlide28.xml" ContentType="application/vnd.openxmlformats-officedocument.presentationml.notesSlide+xml"/>
  <Override PartName="/ppt/tags/tag29.xml" ContentType="application/vnd.openxmlformats-officedocument.presentationml.tags+xml"/>
  <Override PartName="/ppt/notesSlides/notesSlide29.xml" ContentType="application/vnd.openxmlformats-officedocument.presentationml.notesSlide+xml"/>
  <Override PartName="/ppt/tags/tag30.xml" ContentType="application/vnd.openxmlformats-officedocument.presentationml.tags+xml"/>
  <Override PartName="/ppt/notesSlides/notesSlide30.xml" ContentType="application/vnd.openxmlformats-officedocument.presentationml.notesSlide+xml"/>
  <Override PartName="/ppt/tags/tag31.xml" ContentType="application/vnd.openxmlformats-officedocument.presentationml.tags+xml"/>
  <Override PartName="/ppt/notesSlides/notesSlide31.xml" ContentType="application/vnd.openxmlformats-officedocument.presentationml.notesSlide+xml"/>
  <Override PartName="/ppt/tags/tag32.xml" ContentType="application/vnd.openxmlformats-officedocument.presentationml.tags+xml"/>
  <Override PartName="/ppt/notesSlides/notesSlide32.xml" ContentType="application/vnd.openxmlformats-officedocument.presentationml.notesSlide+xml"/>
  <Override PartName="/ppt/tags/tag33.xml" ContentType="application/vnd.openxmlformats-officedocument.presentationml.tags+xml"/>
  <Override PartName="/ppt/notesSlides/notesSlide33.xml" ContentType="application/vnd.openxmlformats-officedocument.presentationml.notesSlide+xml"/>
  <Override PartName="/ppt/tags/tag34.xml" ContentType="application/vnd.openxmlformats-officedocument.presentationml.tags+xml"/>
  <Override PartName="/ppt/notesSlides/notesSlide34.xml" ContentType="application/vnd.openxmlformats-officedocument.presentationml.notesSlide+xml"/>
  <Override PartName="/ppt/tags/tag35.xml" ContentType="application/vnd.openxmlformats-officedocument.presentationml.tags+xml"/>
  <Override PartName="/ppt/notesSlides/notesSlide35.xml" ContentType="application/vnd.openxmlformats-officedocument.presentationml.notesSlide+xml"/>
  <Override PartName="/ppt/tags/tag36.xml" ContentType="application/vnd.openxmlformats-officedocument.presentationml.tags+xml"/>
  <Override PartName="/ppt/notesSlides/notesSlide36.xml" ContentType="application/vnd.openxmlformats-officedocument.presentationml.notesSlide+xml"/>
  <Override PartName="/ppt/tags/tag37.xml" ContentType="application/vnd.openxmlformats-officedocument.presentationml.tags+xml"/>
  <Override PartName="/ppt/notesSlides/notesSlide37.xml" ContentType="application/vnd.openxmlformats-officedocument.presentationml.notesSlide+xml"/>
  <Override PartName="/ppt/tags/tag38.xml" ContentType="application/vnd.openxmlformats-officedocument.presentationml.tags+xml"/>
  <Override PartName="/ppt/notesSlides/notesSlide38.xml" ContentType="application/vnd.openxmlformats-officedocument.presentationml.notesSlide+xml"/>
  <Override PartName="/ppt/tags/tag39.xml" ContentType="application/vnd.openxmlformats-officedocument.presentationml.tags+xml"/>
  <Override PartName="/ppt/notesSlides/notesSlide39.xml" ContentType="application/vnd.openxmlformats-officedocument.presentationml.notesSlide+xml"/>
  <Override PartName="/ppt/tags/tag40.xml" ContentType="application/vnd.openxmlformats-officedocument.presentationml.tags+xml"/>
  <Override PartName="/ppt/notesSlides/notesSlide40.xml" ContentType="application/vnd.openxmlformats-officedocument.presentationml.notesSlide+xml"/>
  <Override PartName="/ppt/tags/tag41.xml" ContentType="application/vnd.openxmlformats-officedocument.presentationml.tags+xml"/>
  <Override PartName="/ppt/notesSlides/notesSlide41.xml" ContentType="application/vnd.openxmlformats-officedocument.presentationml.notesSlide+xml"/>
  <Override PartName="/ppt/tags/tag42.xml" ContentType="application/vnd.openxmlformats-officedocument.presentationml.tags+xml"/>
  <Override PartName="/ppt/notesSlides/notesSlide42.xml" ContentType="application/vnd.openxmlformats-officedocument.presentationml.notesSlide+xml"/>
  <Override PartName="/ppt/tags/tag43.xml" ContentType="application/vnd.openxmlformats-officedocument.presentationml.tags+xml"/>
  <Override PartName="/ppt/notesSlides/notesSlide43.xml" ContentType="application/vnd.openxmlformats-officedocument.presentationml.notesSlide+xml"/>
  <Override PartName="/ppt/tags/tag44.xml" ContentType="application/vnd.openxmlformats-officedocument.presentationml.tags+xml"/>
  <Override PartName="/ppt/notesSlides/notesSlide44.xml" ContentType="application/vnd.openxmlformats-officedocument.presentationml.notesSlide+xml"/>
  <Override PartName="/ppt/tags/tag45.xml" ContentType="application/vnd.openxmlformats-officedocument.presentationml.tags+xml"/>
  <Override PartName="/ppt/notesSlides/notesSlide45.xml" ContentType="application/vnd.openxmlformats-officedocument.presentationml.notesSlide+xml"/>
  <Override PartName="/ppt/tags/tag46.xml" ContentType="application/vnd.openxmlformats-officedocument.presentationml.tags+xml"/>
  <Override PartName="/ppt/notesSlides/notesSlide46.xml" ContentType="application/vnd.openxmlformats-officedocument.presentationml.notesSlide+xml"/>
  <Override PartName="/ppt/tags/tag47.xml" ContentType="application/vnd.openxmlformats-officedocument.presentationml.tags+xml"/>
  <Override PartName="/ppt/notesSlides/notesSlide47.xml" ContentType="application/vnd.openxmlformats-officedocument.presentationml.notesSlide+xml"/>
  <Override PartName="/ppt/tags/tag48.xml" ContentType="application/vnd.openxmlformats-officedocument.presentationml.tags+xml"/>
  <Override PartName="/ppt/notesSlides/notesSlide48.xml" ContentType="application/vnd.openxmlformats-officedocument.presentationml.notesSlide+xml"/>
  <Override PartName="/ppt/tags/tag49.xml" ContentType="application/vnd.openxmlformats-officedocument.presentationml.tags+xml"/>
  <Override PartName="/ppt/notesSlides/notesSlide49.xml" ContentType="application/vnd.openxmlformats-officedocument.presentationml.notesSlide+xml"/>
  <Override PartName="/ppt/tags/tag50.xml" ContentType="application/vnd.openxmlformats-officedocument.presentationml.tags+xml"/>
  <Override PartName="/ppt/notesSlides/notesSlide50.xml" ContentType="application/vnd.openxmlformats-officedocument.presentationml.notesSlide+xml"/>
  <Override PartName="/ppt/tags/tag51.xml" ContentType="application/vnd.openxmlformats-officedocument.presentationml.tags+xml"/>
  <Override PartName="/ppt/notesSlides/notesSlide51.xml" ContentType="application/vnd.openxmlformats-officedocument.presentationml.notesSlide+xml"/>
  <Override PartName="/ppt/tags/tag52.xml" ContentType="application/vnd.openxmlformats-officedocument.presentationml.tags+xml"/>
  <Override PartName="/ppt/notesSlides/notesSlide52.xml" ContentType="application/vnd.openxmlformats-officedocument.presentationml.notesSlide+xml"/>
  <Override PartName="/ppt/tags/tag53.xml" ContentType="application/vnd.openxmlformats-officedocument.presentationml.tags+xml"/>
  <Override PartName="/ppt/notesSlides/notesSlide53.xml" ContentType="application/vnd.openxmlformats-officedocument.presentationml.notesSlide+xml"/>
  <Override PartName="/ppt/tags/tag54.xml" ContentType="application/vnd.openxmlformats-officedocument.presentationml.tags+xml"/>
  <Override PartName="/ppt/notesSlides/notesSlide54.xml" ContentType="application/vnd.openxmlformats-officedocument.presentationml.notesSlide+xml"/>
  <Override PartName="/ppt/tags/tag55.xml" ContentType="application/vnd.openxmlformats-officedocument.presentationml.tags+xml"/>
  <Override PartName="/ppt/notesSlides/notesSlide55.xml" ContentType="application/vnd.openxmlformats-officedocument.presentationml.notesSlide+xml"/>
  <Override PartName="/ppt/tags/tag56.xml" ContentType="application/vnd.openxmlformats-officedocument.presentationml.tags+xml"/>
  <Override PartName="/ppt/notesSlides/notesSlide56.xml" ContentType="application/vnd.openxmlformats-officedocument.presentationml.notesSlide+xml"/>
  <Override PartName="/ppt/tags/tag57.xml" ContentType="application/vnd.openxmlformats-officedocument.presentationml.tags+xml"/>
  <Override PartName="/ppt/notesSlides/notesSlide57.xml" ContentType="application/vnd.openxmlformats-officedocument.presentationml.notesSlide+xml"/>
  <Override PartName="/ppt/tags/tag58.xml" ContentType="application/vnd.openxmlformats-officedocument.presentationml.tags+xml"/>
  <Override PartName="/ppt/notesSlides/notesSlide58.xml" ContentType="application/vnd.openxmlformats-officedocument.presentationml.notesSlide+xml"/>
  <Override PartName="/ppt/tags/tag59.xml" ContentType="application/vnd.openxmlformats-officedocument.presentationml.tags+xml"/>
  <Override PartName="/ppt/notesSlides/notesSlide59.xml" ContentType="application/vnd.openxmlformats-officedocument.presentationml.notesSlide+xml"/>
  <Override PartName="/ppt/tags/tag60.xml" ContentType="application/vnd.openxmlformats-officedocument.presentationml.tags+xml"/>
  <Override PartName="/ppt/notesSlides/notesSlide60.xml" ContentType="application/vnd.openxmlformats-officedocument.presentationml.notesSlide+xml"/>
  <Override PartName="/ppt/tags/tag61.xml" ContentType="application/vnd.openxmlformats-officedocument.presentationml.tags+xml"/>
  <Override PartName="/ppt/notesSlides/notesSlide61.xml" ContentType="application/vnd.openxmlformats-officedocument.presentationml.notesSlide+xml"/>
  <Override PartName="/ppt/tags/tag62.xml" ContentType="application/vnd.openxmlformats-officedocument.presentationml.tags+xml"/>
  <Override PartName="/ppt/notesSlides/notesSlide62.xml" ContentType="application/vnd.openxmlformats-officedocument.presentationml.notesSlide+xml"/>
  <Override PartName="/ppt/tags/tag63.xml" ContentType="application/vnd.openxmlformats-officedocument.presentationml.tags+xml"/>
  <Override PartName="/ppt/notesSlides/notesSlide63.xml" ContentType="application/vnd.openxmlformats-officedocument.presentationml.notesSlide+xml"/>
  <Override PartName="/ppt/tags/tag64.xml" ContentType="application/vnd.openxmlformats-officedocument.presentationml.tags+xml"/>
  <Override PartName="/ppt/notesSlides/notesSlide64.xml" ContentType="application/vnd.openxmlformats-officedocument.presentationml.notesSlide+xml"/>
  <Override PartName="/ppt/tags/tag65.xml" ContentType="application/vnd.openxmlformats-officedocument.presentationml.tags+xml"/>
  <Override PartName="/ppt/notesSlides/notesSlide65.xml" ContentType="application/vnd.openxmlformats-officedocument.presentationml.notesSlide+xml"/>
  <Override PartName="/ppt/tags/tag66.xml" ContentType="application/vnd.openxmlformats-officedocument.presentationml.tags+xml"/>
  <Override PartName="/ppt/notesSlides/notesSlide66.xml" ContentType="application/vnd.openxmlformats-officedocument.presentationml.notesSlide+xml"/>
  <Override PartName="/ppt/tags/tag67.xml" ContentType="application/vnd.openxmlformats-officedocument.presentationml.tags+xml"/>
  <Override PartName="/ppt/notesSlides/notesSlide67.xml" ContentType="application/vnd.openxmlformats-officedocument.presentationml.notesSlide+xml"/>
  <Override PartName="/ppt/tags/tag68.xml" ContentType="application/vnd.openxmlformats-officedocument.presentationml.tags+xml"/>
  <Override PartName="/ppt/notesSlides/notesSlide68.xml" ContentType="application/vnd.openxmlformats-officedocument.presentationml.notesSlide+xml"/>
  <Override PartName="/ppt/tags/tag69.xml" ContentType="application/vnd.openxmlformats-officedocument.presentationml.tags+xml"/>
  <Override PartName="/ppt/notesSlides/notesSlide69.xml" ContentType="application/vnd.openxmlformats-officedocument.presentationml.notesSlide+xml"/>
  <Override PartName="/ppt/tags/tag70.xml" ContentType="application/vnd.openxmlformats-officedocument.presentationml.tags+xml"/>
  <Override PartName="/ppt/notesSlides/notesSlide70.xml" ContentType="application/vnd.openxmlformats-officedocument.presentationml.notesSlide+xml"/>
  <Override PartName="/ppt/tags/tag71.xml" ContentType="application/vnd.openxmlformats-officedocument.presentationml.tags+xml"/>
  <Override PartName="/ppt/notesSlides/notesSlide71.xml" ContentType="application/vnd.openxmlformats-officedocument.presentationml.notesSlide+xml"/>
  <Override PartName="/ppt/tags/tag72.xml" ContentType="application/vnd.openxmlformats-officedocument.presentationml.tags+xml"/>
  <Override PartName="/ppt/notesSlides/notesSlide72.xml" ContentType="application/vnd.openxmlformats-officedocument.presentationml.notesSlide+xml"/>
  <Override PartName="/ppt/tags/tag73.xml" ContentType="application/vnd.openxmlformats-officedocument.presentationml.tags+xml"/>
  <Override PartName="/ppt/notesSlides/notesSlide73.xml" ContentType="application/vnd.openxmlformats-officedocument.presentationml.notesSlide+xml"/>
  <Override PartName="/ppt/tags/tag74.xml" ContentType="application/vnd.openxmlformats-officedocument.presentationml.tags+xml"/>
  <Override PartName="/ppt/notesSlides/notesSlide74.xml" ContentType="application/vnd.openxmlformats-officedocument.presentationml.notesSlide+xml"/>
  <Override PartName="/ppt/tags/tag75.xml" ContentType="application/vnd.openxmlformats-officedocument.presentationml.tags+xml"/>
  <Override PartName="/ppt/notesSlides/notesSlide75.xml" ContentType="application/vnd.openxmlformats-officedocument.presentationml.notesSlide+xml"/>
  <Override PartName="/ppt/tags/tag76.xml" ContentType="application/vnd.openxmlformats-officedocument.presentationml.tags+xml"/>
  <Override PartName="/ppt/notesSlides/notesSlide76.xml" ContentType="application/vnd.openxmlformats-officedocument.presentationml.notesSlide+xml"/>
  <Override PartName="/ppt/tags/tag77.xml" ContentType="application/vnd.openxmlformats-officedocument.presentationml.tags+xml"/>
  <Override PartName="/ppt/notesSlides/notesSlide77.xml" ContentType="application/vnd.openxmlformats-officedocument.presentationml.notesSlide+xml"/>
  <Override PartName="/ppt/tags/tag78.xml" ContentType="application/vnd.openxmlformats-officedocument.presentationml.tags+xml"/>
  <Override PartName="/ppt/notesSlides/notesSlide78.xml" ContentType="application/vnd.openxmlformats-officedocument.presentationml.notesSlide+xml"/>
  <Override PartName="/ppt/tags/tag79.xml" ContentType="application/vnd.openxmlformats-officedocument.presentationml.tags+xml"/>
  <Override PartName="/ppt/notesSlides/notesSlide79.xml" ContentType="application/vnd.openxmlformats-officedocument.presentationml.notesSlide+xml"/>
  <Override PartName="/ppt/tags/tag80.xml" ContentType="application/vnd.openxmlformats-officedocument.presentationml.tags+xml"/>
  <Override PartName="/ppt/notesSlides/notesSlide80.xml" ContentType="application/vnd.openxmlformats-officedocument.presentationml.notesSlide+xml"/>
  <Override PartName="/ppt/tags/tag81.xml" ContentType="application/vnd.openxmlformats-officedocument.presentationml.tags+xml"/>
  <Override PartName="/ppt/notesSlides/notesSlide81.xml" ContentType="application/vnd.openxmlformats-officedocument.presentationml.notesSlide+xml"/>
  <Override PartName="/ppt/tags/tag82.xml" ContentType="application/vnd.openxmlformats-officedocument.presentationml.tags+xml"/>
  <Override PartName="/ppt/notesSlides/notesSlide82.xml" ContentType="application/vnd.openxmlformats-officedocument.presentationml.notesSlide+xml"/>
  <Override PartName="/ppt/tags/tag83.xml" ContentType="application/vnd.openxmlformats-officedocument.presentationml.tags+xml"/>
  <Override PartName="/ppt/notesSlides/notesSlide83.xml" ContentType="application/vnd.openxmlformats-officedocument.presentationml.notesSlide+xml"/>
  <Override PartName="/ppt/tags/tag84.xml" ContentType="application/vnd.openxmlformats-officedocument.presentationml.tags+xml"/>
  <Override PartName="/ppt/notesSlides/notesSlide84.xml" ContentType="application/vnd.openxmlformats-officedocument.presentationml.notesSlide+xml"/>
  <Override PartName="/ppt/tags/tag85.xml" ContentType="application/vnd.openxmlformats-officedocument.presentationml.tags+xml"/>
  <Override PartName="/ppt/notesSlides/notesSlide85.xml" ContentType="application/vnd.openxmlformats-officedocument.presentationml.notesSlide+xml"/>
  <Override PartName="/ppt/tags/tag86.xml" ContentType="application/vnd.openxmlformats-officedocument.presentationml.tags+xml"/>
  <Override PartName="/ppt/notesSlides/notesSlide86.xml" ContentType="application/vnd.openxmlformats-officedocument.presentationml.notesSlide+xml"/>
  <Override PartName="/ppt/tags/tag87.xml" ContentType="application/vnd.openxmlformats-officedocument.presentationml.tags+xml"/>
  <Override PartName="/ppt/notesSlides/notesSlide87.xml" ContentType="application/vnd.openxmlformats-officedocument.presentationml.notesSlide+xml"/>
  <Override PartName="/ppt/tags/tag88.xml" ContentType="application/vnd.openxmlformats-officedocument.presentationml.tags+xml"/>
  <Override PartName="/ppt/notesSlides/notesSlide88.xml" ContentType="application/vnd.openxmlformats-officedocument.presentationml.notesSlide+xml"/>
  <Override PartName="/ppt/tags/tag89.xml" ContentType="application/vnd.openxmlformats-officedocument.presentationml.tags+xml"/>
  <Override PartName="/ppt/notesSlides/notesSlide89.xml" ContentType="application/vnd.openxmlformats-officedocument.presentationml.notesSlide+xml"/>
  <Override PartName="/ppt/tags/tag90.xml" ContentType="application/vnd.openxmlformats-officedocument.presentationml.tags+xml"/>
  <Override PartName="/ppt/notesSlides/notesSlide90.xml" ContentType="application/vnd.openxmlformats-officedocument.presentationml.notesSlide+xml"/>
  <Override PartName="/ppt/tags/tag91.xml" ContentType="application/vnd.openxmlformats-officedocument.presentationml.tags+xml"/>
  <Override PartName="/ppt/notesSlides/notesSlide91.xml" ContentType="application/vnd.openxmlformats-officedocument.presentationml.notesSlide+xml"/>
  <Override PartName="/ppt/tags/tag92.xml" ContentType="application/vnd.openxmlformats-officedocument.presentationml.tags+xml"/>
  <Override PartName="/ppt/notesSlides/notesSlide92.xml" ContentType="application/vnd.openxmlformats-officedocument.presentationml.notesSlide+xml"/>
  <Override PartName="/ppt/tags/tag93.xml" ContentType="application/vnd.openxmlformats-officedocument.presentationml.tags+xml"/>
  <Override PartName="/ppt/notesSlides/notesSlide93.xml" ContentType="application/vnd.openxmlformats-officedocument.presentationml.notesSlide+xml"/>
  <Override PartName="/ppt/tags/tag94.xml" ContentType="application/vnd.openxmlformats-officedocument.presentationml.tags+xml"/>
  <Override PartName="/ppt/notesSlides/notesSlide94.xml" ContentType="application/vnd.openxmlformats-officedocument.presentationml.notesSlide+xml"/>
  <Override PartName="/ppt/tags/tag95.xml" ContentType="application/vnd.openxmlformats-officedocument.presentationml.tags+xml"/>
  <Override PartName="/ppt/notesSlides/notesSlide95.xml" ContentType="application/vnd.openxmlformats-officedocument.presentationml.notesSlide+xml"/>
  <Override PartName="/ppt/tags/tag96.xml" ContentType="application/vnd.openxmlformats-officedocument.presentationml.tags+xml"/>
  <Override PartName="/ppt/notesSlides/notesSlide96.xml" ContentType="application/vnd.openxmlformats-officedocument.presentationml.notesSlide+xml"/>
  <Override PartName="/ppt/tags/tag97.xml" ContentType="application/vnd.openxmlformats-officedocument.presentationml.tags+xml"/>
  <Override PartName="/ppt/notesSlides/notesSlide9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1" r:id="rId4"/>
    <p:sldMasterId id="2147483965" r:id="rId5"/>
    <p:sldMasterId id="2147483948" r:id="rId6"/>
    <p:sldMasterId id="2147483869" r:id="rId7"/>
    <p:sldMasterId id="2147483886" r:id="rId8"/>
    <p:sldMasterId id="2147483913" r:id="rId9"/>
  </p:sldMasterIdLst>
  <p:notesMasterIdLst>
    <p:notesMasterId r:id="rId131"/>
  </p:notesMasterIdLst>
  <p:handoutMasterIdLst>
    <p:handoutMasterId r:id="rId132"/>
  </p:handoutMasterIdLst>
  <p:sldIdLst>
    <p:sldId id="2147468999" r:id="rId10"/>
    <p:sldId id="2147469022" r:id="rId11"/>
    <p:sldId id="2147469005" r:id="rId12"/>
    <p:sldId id="2147469000" r:id="rId13"/>
    <p:sldId id="2147468907" r:id="rId14"/>
    <p:sldId id="2147468930" r:id="rId15"/>
    <p:sldId id="2147468942" r:id="rId16"/>
    <p:sldId id="2147468981" r:id="rId17"/>
    <p:sldId id="2147468992" r:id="rId18"/>
    <p:sldId id="2147469001" r:id="rId19"/>
    <p:sldId id="2147468897" r:id="rId20"/>
    <p:sldId id="2147468909" r:id="rId21"/>
    <p:sldId id="2147468911" r:id="rId22"/>
    <p:sldId id="2147468913" r:id="rId23"/>
    <p:sldId id="2147468914" r:id="rId24"/>
    <p:sldId id="2147468917" r:id="rId25"/>
    <p:sldId id="2147468928" r:id="rId26"/>
    <p:sldId id="2147468910" r:id="rId27"/>
    <p:sldId id="2147468935" r:id="rId28"/>
    <p:sldId id="2147468936" r:id="rId29"/>
    <p:sldId id="2147468937" r:id="rId30"/>
    <p:sldId id="2147468938" r:id="rId31"/>
    <p:sldId id="2147468946" r:id="rId32"/>
    <p:sldId id="2147468948" r:id="rId33"/>
    <p:sldId id="2147468949" r:id="rId34"/>
    <p:sldId id="2147468951" r:id="rId35"/>
    <p:sldId id="2147468957" r:id="rId36"/>
    <p:sldId id="2147468978" r:id="rId37"/>
    <p:sldId id="2147468960" r:id="rId38"/>
    <p:sldId id="2147468996" r:id="rId39"/>
    <p:sldId id="2147469002" r:id="rId40"/>
    <p:sldId id="2147468899" r:id="rId41"/>
    <p:sldId id="2147468906" r:id="rId42"/>
    <p:sldId id="2147468908" r:id="rId43"/>
    <p:sldId id="2147468966" r:id="rId44"/>
    <p:sldId id="2147468977" r:id="rId45"/>
    <p:sldId id="2147468995" r:id="rId46"/>
    <p:sldId id="2147468998" r:id="rId47"/>
    <p:sldId id="2147469003" r:id="rId48"/>
    <p:sldId id="2147468952" r:id="rId49"/>
    <p:sldId id="2147469004" r:id="rId50"/>
    <p:sldId id="2147468918" r:id="rId51"/>
    <p:sldId id="2147468919" r:id="rId52"/>
    <p:sldId id="2147468943" r:id="rId53"/>
    <p:sldId id="2147468945" r:id="rId54"/>
    <p:sldId id="2147468950" r:id="rId55"/>
    <p:sldId id="2147468954" r:id="rId56"/>
    <p:sldId id="2147468958" r:id="rId57"/>
    <p:sldId id="2147468959" r:id="rId58"/>
    <p:sldId id="2147468962" r:id="rId59"/>
    <p:sldId id="2147469006" r:id="rId60"/>
    <p:sldId id="2147468947" r:id="rId61"/>
    <p:sldId id="2147469007" r:id="rId62"/>
    <p:sldId id="2147468886" r:id="rId63"/>
    <p:sldId id="2147468884" r:id="rId64"/>
    <p:sldId id="2147469008" r:id="rId65"/>
    <p:sldId id="2147468893" r:id="rId66"/>
    <p:sldId id="2147468903" r:id="rId67"/>
    <p:sldId id="2147468985" r:id="rId68"/>
    <p:sldId id="2147469009" r:id="rId69"/>
    <p:sldId id="2147468889" r:id="rId70"/>
    <p:sldId id="2147468900" r:id="rId71"/>
    <p:sldId id="2147468973" r:id="rId72"/>
    <p:sldId id="2147469010" r:id="rId73"/>
    <p:sldId id="2147468895" r:id="rId74"/>
    <p:sldId id="2147468915" r:id="rId75"/>
    <p:sldId id="2147468955" r:id="rId76"/>
    <p:sldId id="2147468972" r:id="rId77"/>
    <p:sldId id="2147469011" r:id="rId78"/>
    <p:sldId id="2147468885" r:id="rId79"/>
    <p:sldId id="2147468887" r:id="rId80"/>
    <p:sldId id="2147468912" r:id="rId81"/>
    <p:sldId id="2147468970" r:id="rId82"/>
    <p:sldId id="2147468971" r:id="rId83"/>
    <p:sldId id="2147468979" r:id="rId84"/>
    <p:sldId id="2147468967" r:id="rId85"/>
    <p:sldId id="2147469012" r:id="rId86"/>
    <p:sldId id="2147468894" r:id="rId87"/>
    <p:sldId id="2147468902" r:id="rId88"/>
    <p:sldId id="2147469016" r:id="rId89"/>
    <p:sldId id="2147468888" r:id="rId90"/>
    <p:sldId id="2147469013" r:id="rId91"/>
    <p:sldId id="2147468916" r:id="rId92"/>
    <p:sldId id="2147469014" r:id="rId93"/>
    <p:sldId id="2147468898" r:id="rId94"/>
    <p:sldId id="2147468924" r:id="rId95"/>
    <p:sldId id="2147468925" r:id="rId96"/>
    <p:sldId id="2147468929" r:id="rId97"/>
    <p:sldId id="2147468961" r:id="rId98"/>
    <p:sldId id="2147468965" r:id="rId99"/>
    <p:sldId id="2147468964" r:id="rId100"/>
    <p:sldId id="2147468982" r:id="rId101"/>
    <p:sldId id="2147468988" r:id="rId102"/>
    <p:sldId id="2147468997" r:id="rId103"/>
    <p:sldId id="2147469015" r:id="rId104"/>
    <p:sldId id="2147468926" r:id="rId105"/>
    <p:sldId id="2147468927" r:id="rId106"/>
    <p:sldId id="2147468944" r:id="rId107"/>
    <p:sldId id="2147468956" r:id="rId108"/>
    <p:sldId id="2147468968" r:id="rId109"/>
    <p:sldId id="2147468987" r:id="rId110"/>
    <p:sldId id="2147468989" r:id="rId111"/>
    <p:sldId id="2147468990" r:id="rId112"/>
    <p:sldId id="2147468994" r:id="rId113"/>
    <p:sldId id="2147469018" r:id="rId114"/>
    <p:sldId id="2147468904" r:id="rId115"/>
    <p:sldId id="2147468934" r:id="rId116"/>
    <p:sldId id="2147468932" r:id="rId117"/>
    <p:sldId id="2147468953" r:id="rId118"/>
    <p:sldId id="2147468963" r:id="rId119"/>
    <p:sldId id="2147469017" r:id="rId120"/>
    <p:sldId id="2147468896" r:id="rId121"/>
    <p:sldId id="2147468901" r:id="rId122"/>
    <p:sldId id="2147468922" r:id="rId123"/>
    <p:sldId id="2147468892" r:id="rId124"/>
    <p:sldId id="2147469019" r:id="rId125"/>
    <p:sldId id="2147468983" r:id="rId126"/>
    <p:sldId id="2147469020" r:id="rId127"/>
    <p:sldId id="2147468986" r:id="rId128"/>
    <p:sldId id="2147469021" r:id="rId129"/>
    <p:sldId id="2147468993" r:id="rId13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55D2104-F1E8-0D7A-0E35-DB50CEABDF50}" name="Caroline Baker" initials="CB" userId="S::caroline.baker@gartner.com::0fbdd6cc-5ea0-493c-bb40-f2bbc5de54ff" providerId="AD"/>
  <p188:author id="{44B8FA4E-3CED-5A5A-4650-5B7B9587FD28}" name="Rita L. Sallam" initials="RS" userId="S::rita.sallam@gartner.com::27fa2d08-926d-4e54-a61c-5bf959504366" providerId="AD"/>
  <p188:author id="{5F6C1467-F7F4-A9D1-5BFA-536B1AC99D4E}" name="Ragini Pathak" initials="RP" userId="S::Ragini.Pathak@gartner.com::7ebae551-c227-40fd-b8a1-89257de2fd1a" providerId="AD"/>
  <p188:author id="{825D82A8-6B60-8591-5449-466D9C2C765F}" name="Caroline Baker" initials="" userId="S::Caroline.Baker@gartner.com::0fbdd6cc-5ea0-493c-bb40-f2bbc5de54ff" providerId="AD"/>
  <p188:author id="{AABB22CB-0A5D-A70E-E717-BEEA0150CE66}" name="Chris Redfearn-Murray" initials="" userId="S::Chris.Redfearn-Murray@gartner.com::76bc42e3-76be-4223-b528-9dc217fd9da1" providerId="AD"/>
  <p188:author id="{A12E64D8-0566-B891-127C-665EA22EB61A}" name="Melanie V Bookstaver" initials="MB" userId="S::Melanie.Bookstaver@gartner.com::4498c51e-6705-402a-9d37-4e556b7ecba8" providerId="AD"/>
  <p188:author id="{7C5036E4-D224-A23F-6FD9-2A0665E6FB7E}" name="Maureen S. Fleming" initials="MSF" userId="S::Maureen.Fleming@gartner.com::55564240-5a0e-4b16-8a23-b6077a4b6df8" providerId="AD"/>
  <p188:author id="{8DFF13E6-BAB9-B747-C64E-3AA0139E13AF}" name="Maureen S. Fleming" initials="MF" userId="S::maureen.fleming@gartner.com::55564240-5a0e-4b16-8a23-b6077a4b6df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nders,Rich" initials="E" lastIdx="4" clrIdx="0">
    <p:extLst>
      <p:ext uri="{19B8F6BF-5375-455C-9EA6-DF929625EA0E}">
        <p15:presenceInfo xmlns:p15="http://schemas.microsoft.com/office/powerpoint/2012/main" userId="S::Rich.Enders@gartner.com::1ad872d4-5fa0-4d3e-b9bc-40fded2a6f6d" providerId="AD"/>
      </p:ext>
    </p:extLst>
  </p:cmAuthor>
  <p:cmAuthor id="2" name="Puleio,Michelle" initials="P" lastIdx="1" clrIdx="1">
    <p:extLst>
      <p:ext uri="{19B8F6BF-5375-455C-9EA6-DF929625EA0E}">
        <p15:presenceInfo xmlns:p15="http://schemas.microsoft.com/office/powerpoint/2012/main" userId="S::Michelle.Puleio@gartner.com::4d61dde0-08c5-41fb-925d-691e51c28e04" providerId="AD"/>
      </p:ext>
    </p:extLst>
  </p:cmAuthor>
  <p:cmAuthor id="3" name="Rafferty,Charles" initials="R" lastIdx="1" clrIdx="2">
    <p:extLst>
      <p:ext uri="{19B8F6BF-5375-455C-9EA6-DF929625EA0E}">
        <p15:presenceInfo xmlns:p15="http://schemas.microsoft.com/office/powerpoint/2012/main" userId="S::Charles.Rafferty@gartner.com::7a4208b7-acfc-4cce-8499-c63b78448d8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1010"/>
    <a:srgbClr val="F4F4F4"/>
    <a:srgbClr val="D3D3D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A398367-840A-FC48-9A3D-BBB937E4EAB6}" v="802" dt="2024-02-08T16:16:04.313"/>
    <p1510:client id="{7D399629-8B00-462A-8C41-1FD7AF08AD9F}" v="5" vWet="9" dt="2024-02-08T04:21:44.883"/>
    <p1510:client id="{9DA46B07-0980-B166-769C-C3447FEB7757}" v="24" dt="2024-02-08T16:24:41.766"/>
    <p1510:client id="{A523986C-F6BF-417F-B370-76E7AC853AD0}" v="1649" vWet="1651" dt="2024-02-08T16:22:39.041"/>
    <p1510:client id="{B8814815-445B-03B8-605F-A05E23E605C3}" v="2" dt="2024-02-08T13:47:56.890"/>
    <p1510:client id="{DA43ACE5-048B-BC41-80A7-BC6AB07FD63B}" v="36" dt="2024-02-08T04:37:44.619"/>
    <p1510:client id="{F368F130-8DDA-43F5-B8CD-4BF383F13A3D}" v="4" dt="2024-02-08T13:50:46.945"/>
  </p1510:revLst>
</p1510:revInfo>
</file>

<file path=ppt/tableStyles.xml><?xml version="1.0" encoding="utf-8"?>
<a:tblStyleLst xmlns:a="http://schemas.openxmlformats.org/drawingml/2006/main" def="{6E25E649-3F16-4E02-A733-19D2CDBF48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varScale="1">
        <p:scale>
          <a:sx n="121" d="100"/>
          <a:sy n="121" d="100"/>
        </p:scale>
        <p:origin x="744" y="17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8.xml"/><Relationship Id="rId21" Type="http://schemas.openxmlformats.org/officeDocument/2006/relationships/slide" Target="slides/slide12.xml"/><Relationship Id="rId42" Type="http://schemas.openxmlformats.org/officeDocument/2006/relationships/slide" Target="slides/slide33.xml"/><Relationship Id="rId63" Type="http://schemas.openxmlformats.org/officeDocument/2006/relationships/slide" Target="slides/slide54.xml"/><Relationship Id="rId84" Type="http://schemas.openxmlformats.org/officeDocument/2006/relationships/slide" Target="slides/slide75.xml"/><Relationship Id="rId138" Type="http://schemas.microsoft.com/office/2016/11/relationships/changesInfo" Target="changesInfos/changesInfo1.xml"/><Relationship Id="rId16" Type="http://schemas.openxmlformats.org/officeDocument/2006/relationships/slide" Target="slides/slide7.xml"/><Relationship Id="rId107" Type="http://schemas.openxmlformats.org/officeDocument/2006/relationships/slide" Target="slides/slide98.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openxmlformats.org/officeDocument/2006/relationships/slide" Target="slides/slide93.xml"/><Relationship Id="rId123" Type="http://schemas.openxmlformats.org/officeDocument/2006/relationships/slide" Target="slides/slide114.xml"/><Relationship Id="rId128" Type="http://schemas.openxmlformats.org/officeDocument/2006/relationships/slide" Target="slides/slide119.xml"/><Relationship Id="rId5" Type="http://schemas.openxmlformats.org/officeDocument/2006/relationships/slideMaster" Target="slideMasters/slideMaster2.xml"/><Relationship Id="rId90" Type="http://schemas.openxmlformats.org/officeDocument/2006/relationships/slide" Target="slides/slide81.xml"/><Relationship Id="rId95" Type="http://schemas.openxmlformats.org/officeDocument/2006/relationships/slide" Target="slides/slide86.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113" Type="http://schemas.openxmlformats.org/officeDocument/2006/relationships/slide" Target="slides/slide104.xml"/><Relationship Id="rId118" Type="http://schemas.openxmlformats.org/officeDocument/2006/relationships/slide" Target="slides/slide109.xml"/><Relationship Id="rId134" Type="http://schemas.openxmlformats.org/officeDocument/2006/relationships/presProps" Target="presProps.xml"/><Relationship Id="rId139" Type="http://schemas.microsoft.com/office/2015/10/relationships/revisionInfo" Target="revisionInfo.xml"/><Relationship Id="rId80" Type="http://schemas.openxmlformats.org/officeDocument/2006/relationships/slide" Target="slides/slide71.xml"/><Relationship Id="rId85" Type="http://schemas.openxmlformats.org/officeDocument/2006/relationships/slide" Target="slides/slide76.xml"/><Relationship Id="rId12" Type="http://schemas.openxmlformats.org/officeDocument/2006/relationships/slide" Target="slides/slide3.xml"/><Relationship Id="rId17" Type="http://schemas.openxmlformats.org/officeDocument/2006/relationships/slide" Target="slides/slide8.xml"/><Relationship Id="rId33" Type="http://schemas.openxmlformats.org/officeDocument/2006/relationships/slide" Target="slides/slide24.xml"/><Relationship Id="rId38" Type="http://schemas.openxmlformats.org/officeDocument/2006/relationships/slide" Target="slides/slide29.xml"/><Relationship Id="rId59" Type="http://schemas.openxmlformats.org/officeDocument/2006/relationships/slide" Target="slides/slide50.xml"/><Relationship Id="rId103" Type="http://schemas.openxmlformats.org/officeDocument/2006/relationships/slide" Target="slides/slide94.xml"/><Relationship Id="rId108" Type="http://schemas.openxmlformats.org/officeDocument/2006/relationships/slide" Target="slides/slide99.xml"/><Relationship Id="rId124" Type="http://schemas.openxmlformats.org/officeDocument/2006/relationships/slide" Target="slides/slide115.xml"/><Relationship Id="rId129" Type="http://schemas.openxmlformats.org/officeDocument/2006/relationships/slide" Target="slides/slide120.xml"/><Relationship Id="rId54" Type="http://schemas.openxmlformats.org/officeDocument/2006/relationships/slide" Target="slides/slide45.xml"/><Relationship Id="rId70" Type="http://schemas.openxmlformats.org/officeDocument/2006/relationships/slide" Target="slides/slide61.xml"/><Relationship Id="rId75" Type="http://schemas.openxmlformats.org/officeDocument/2006/relationships/slide" Target="slides/slide66.xml"/><Relationship Id="rId91" Type="http://schemas.openxmlformats.org/officeDocument/2006/relationships/slide" Target="slides/slide82.xml"/><Relationship Id="rId96" Type="http://schemas.openxmlformats.org/officeDocument/2006/relationships/slide" Target="slides/slide87.xml"/><Relationship Id="rId14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4.xml"/><Relationship Id="rId28" Type="http://schemas.openxmlformats.org/officeDocument/2006/relationships/slide" Target="slides/slide19.xml"/><Relationship Id="rId49" Type="http://schemas.openxmlformats.org/officeDocument/2006/relationships/slide" Target="slides/slide40.xml"/><Relationship Id="rId114" Type="http://schemas.openxmlformats.org/officeDocument/2006/relationships/slide" Target="slides/slide105.xml"/><Relationship Id="rId119" Type="http://schemas.openxmlformats.org/officeDocument/2006/relationships/slide" Target="slides/slide110.xml"/><Relationship Id="rId44" Type="http://schemas.openxmlformats.org/officeDocument/2006/relationships/slide" Target="slides/slide35.xml"/><Relationship Id="rId60" Type="http://schemas.openxmlformats.org/officeDocument/2006/relationships/slide" Target="slides/slide51.xml"/><Relationship Id="rId65" Type="http://schemas.openxmlformats.org/officeDocument/2006/relationships/slide" Target="slides/slide56.xml"/><Relationship Id="rId81" Type="http://schemas.openxmlformats.org/officeDocument/2006/relationships/slide" Target="slides/slide72.xml"/><Relationship Id="rId86" Type="http://schemas.openxmlformats.org/officeDocument/2006/relationships/slide" Target="slides/slide77.xml"/><Relationship Id="rId130" Type="http://schemas.openxmlformats.org/officeDocument/2006/relationships/slide" Target="slides/slide121.xml"/><Relationship Id="rId135" Type="http://schemas.openxmlformats.org/officeDocument/2006/relationships/viewProps" Target="viewProps.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slide" Target="slides/slide10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slide" Target="slides/slide95.xml"/><Relationship Id="rId120" Type="http://schemas.openxmlformats.org/officeDocument/2006/relationships/slide" Target="slides/slide111.xml"/><Relationship Id="rId125" Type="http://schemas.openxmlformats.org/officeDocument/2006/relationships/slide" Target="slides/slide116.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slide" Target="slides/slide101.xml"/><Relationship Id="rId115" Type="http://schemas.openxmlformats.org/officeDocument/2006/relationships/slide" Target="slides/slide106.xml"/><Relationship Id="rId131" Type="http://schemas.openxmlformats.org/officeDocument/2006/relationships/notesMaster" Target="notesMasters/notesMaster1.xml"/><Relationship Id="rId136" Type="http://schemas.openxmlformats.org/officeDocument/2006/relationships/theme" Target="theme/theme1.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slide" Target="slides/slide96.xml"/><Relationship Id="rId126" Type="http://schemas.openxmlformats.org/officeDocument/2006/relationships/slide" Target="slides/slide117.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slide" Target="slides/slide84.xml"/><Relationship Id="rId98" Type="http://schemas.openxmlformats.org/officeDocument/2006/relationships/slide" Target="slides/slide89.xml"/><Relationship Id="rId121" Type="http://schemas.openxmlformats.org/officeDocument/2006/relationships/slide" Target="slides/slide112.xml"/><Relationship Id="rId3" Type="http://schemas.openxmlformats.org/officeDocument/2006/relationships/customXml" Target="../customXml/item3.xml"/><Relationship Id="rId25" Type="http://schemas.openxmlformats.org/officeDocument/2006/relationships/slide" Target="slides/slide16.xml"/><Relationship Id="rId46" Type="http://schemas.openxmlformats.org/officeDocument/2006/relationships/slide" Target="slides/slide37.xml"/><Relationship Id="rId67" Type="http://schemas.openxmlformats.org/officeDocument/2006/relationships/slide" Target="slides/slide58.xml"/><Relationship Id="rId116" Type="http://schemas.openxmlformats.org/officeDocument/2006/relationships/slide" Target="slides/slide107.xml"/><Relationship Id="rId137" Type="http://schemas.openxmlformats.org/officeDocument/2006/relationships/tableStyles" Target="tableStyles.xml"/><Relationship Id="rId20" Type="http://schemas.openxmlformats.org/officeDocument/2006/relationships/slide" Target="slides/slide11.xml"/><Relationship Id="rId41" Type="http://schemas.openxmlformats.org/officeDocument/2006/relationships/slide" Target="slides/slide32.xml"/><Relationship Id="rId62" Type="http://schemas.openxmlformats.org/officeDocument/2006/relationships/slide" Target="slides/slide53.xml"/><Relationship Id="rId83" Type="http://schemas.openxmlformats.org/officeDocument/2006/relationships/slide" Target="slides/slide74.xml"/><Relationship Id="rId88" Type="http://schemas.openxmlformats.org/officeDocument/2006/relationships/slide" Target="slides/slide79.xml"/><Relationship Id="rId111" Type="http://schemas.openxmlformats.org/officeDocument/2006/relationships/slide" Target="slides/slide102.xml"/><Relationship Id="rId132" Type="http://schemas.openxmlformats.org/officeDocument/2006/relationships/handoutMaster" Target="handoutMasters/handoutMaster1.xml"/><Relationship Id="rId15" Type="http://schemas.openxmlformats.org/officeDocument/2006/relationships/slide" Target="slides/slide6.xml"/><Relationship Id="rId36" Type="http://schemas.openxmlformats.org/officeDocument/2006/relationships/slide" Target="slides/slide27.xml"/><Relationship Id="rId57" Type="http://schemas.openxmlformats.org/officeDocument/2006/relationships/slide" Target="slides/slide48.xml"/><Relationship Id="rId106" Type="http://schemas.openxmlformats.org/officeDocument/2006/relationships/slide" Target="slides/slide97.xml"/><Relationship Id="rId127" Type="http://schemas.openxmlformats.org/officeDocument/2006/relationships/slide" Target="slides/slide118.xml"/><Relationship Id="rId10" Type="http://schemas.openxmlformats.org/officeDocument/2006/relationships/slide" Target="slides/slide1.xml"/><Relationship Id="rId31" Type="http://schemas.openxmlformats.org/officeDocument/2006/relationships/slide" Target="slides/slide22.xml"/><Relationship Id="rId52" Type="http://schemas.openxmlformats.org/officeDocument/2006/relationships/slide" Target="slides/slide43.xml"/><Relationship Id="rId73" Type="http://schemas.openxmlformats.org/officeDocument/2006/relationships/slide" Target="slides/slide64.xml"/><Relationship Id="rId78" Type="http://schemas.openxmlformats.org/officeDocument/2006/relationships/slide" Target="slides/slide69.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122" Type="http://schemas.openxmlformats.org/officeDocument/2006/relationships/slide" Target="slides/slide113.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7.xml"/><Relationship Id="rId47" Type="http://schemas.openxmlformats.org/officeDocument/2006/relationships/slide" Target="slides/slide38.xml"/><Relationship Id="rId68" Type="http://schemas.openxmlformats.org/officeDocument/2006/relationships/slide" Target="slides/slide59.xml"/><Relationship Id="rId89" Type="http://schemas.openxmlformats.org/officeDocument/2006/relationships/slide" Target="slides/slide80.xml"/><Relationship Id="rId112" Type="http://schemas.openxmlformats.org/officeDocument/2006/relationships/slide" Target="slides/slide103.xml"/><Relationship Id="rId133"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lanie V Bookstaver" userId="4498c51e-6705-402a-9d37-4e556b7ecba8" providerId="ADAL" clId="{DA43ACE5-048B-BC41-80A7-BC6AB07FD63B}"/>
    <pc:docChg chg="undo redo custSel modSld">
      <pc:chgData name="Melanie V Bookstaver" userId="4498c51e-6705-402a-9d37-4e556b7ecba8" providerId="ADAL" clId="{DA43ACE5-048B-BC41-80A7-BC6AB07FD63B}" dt="2024-02-08T04:37:44.619" v="31" actId="207"/>
      <pc:docMkLst>
        <pc:docMk/>
      </pc:docMkLst>
      <pc:sldChg chg="modSp mod">
        <pc:chgData name="Melanie V Bookstaver" userId="4498c51e-6705-402a-9d37-4e556b7ecba8" providerId="ADAL" clId="{DA43ACE5-048B-BC41-80A7-BC6AB07FD63B}" dt="2024-02-08T04:37:44.619" v="31" actId="207"/>
        <pc:sldMkLst>
          <pc:docMk/>
          <pc:sldMk cId="3949028895" sldId="2147468907"/>
        </pc:sldMkLst>
        <pc:spChg chg="mod">
          <ac:chgData name="Melanie V Bookstaver" userId="4498c51e-6705-402a-9d37-4e556b7ecba8" providerId="ADAL" clId="{DA43ACE5-048B-BC41-80A7-BC6AB07FD63B}" dt="2024-02-08T04:37:44.619" v="31" actId="207"/>
          <ac:spMkLst>
            <pc:docMk/>
            <pc:sldMk cId="3949028895" sldId="2147468907"/>
            <ac:spMk id="2" creationId="{6901DE6F-77C1-A23B-B70C-87C9D65E011D}"/>
          </ac:spMkLst>
        </pc:spChg>
        <pc:spChg chg="mod">
          <ac:chgData name="Melanie V Bookstaver" userId="4498c51e-6705-402a-9d37-4e556b7ecba8" providerId="ADAL" clId="{DA43ACE5-048B-BC41-80A7-BC6AB07FD63B}" dt="2024-02-08T04:37:44.619" v="31" actId="207"/>
          <ac:spMkLst>
            <pc:docMk/>
            <pc:sldMk cId="3949028895" sldId="2147468907"/>
            <ac:spMk id="4" creationId="{3F7AAC27-6AED-E136-A774-BC95120AD7C7}"/>
          </ac:spMkLst>
        </pc:spChg>
        <pc:spChg chg="mod">
          <ac:chgData name="Melanie V Bookstaver" userId="4498c51e-6705-402a-9d37-4e556b7ecba8" providerId="ADAL" clId="{DA43ACE5-048B-BC41-80A7-BC6AB07FD63B}" dt="2024-02-08T04:37:44.619" v="31" actId="207"/>
          <ac:spMkLst>
            <pc:docMk/>
            <pc:sldMk cId="3949028895" sldId="2147468907"/>
            <ac:spMk id="6" creationId="{582CDE9F-4074-6013-DA5F-52D45583DC85}"/>
          </ac:spMkLst>
        </pc:spChg>
        <pc:spChg chg="mod">
          <ac:chgData name="Melanie V Bookstaver" userId="4498c51e-6705-402a-9d37-4e556b7ecba8" providerId="ADAL" clId="{DA43ACE5-048B-BC41-80A7-BC6AB07FD63B}" dt="2024-02-08T04:37:44.619" v="31" actId="207"/>
          <ac:spMkLst>
            <pc:docMk/>
            <pc:sldMk cId="3949028895" sldId="2147468907"/>
            <ac:spMk id="7" creationId="{8EC9B30E-3239-1EDB-35BD-AED9D698B2F5}"/>
          </ac:spMkLst>
        </pc:spChg>
        <pc:spChg chg="mod">
          <ac:chgData name="Melanie V Bookstaver" userId="4498c51e-6705-402a-9d37-4e556b7ecba8" providerId="ADAL" clId="{DA43ACE5-048B-BC41-80A7-BC6AB07FD63B}" dt="2024-02-08T04:37:44.619" v="31" actId="207"/>
          <ac:spMkLst>
            <pc:docMk/>
            <pc:sldMk cId="3949028895" sldId="2147468907"/>
            <ac:spMk id="15" creationId="{27824531-41EE-141D-A8BE-82FAB98B4046}"/>
          </ac:spMkLst>
        </pc:spChg>
        <pc:spChg chg="mod">
          <ac:chgData name="Melanie V Bookstaver" userId="4498c51e-6705-402a-9d37-4e556b7ecba8" providerId="ADAL" clId="{DA43ACE5-048B-BC41-80A7-BC6AB07FD63B}" dt="2024-02-08T04:37:44.619" v="31" actId="207"/>
          <ac:spMkLst>
            <pc:docMk/>
            <pc:sldMk cId="3949028895" sldId="2147468907"/>
            <ac:spMk id="751" creationId="{3D178A78-CD9B-9B57-381E-6C79E4F668FB}"/>
          </ac:spMkLst>
        </pc:spChg>
        <pc:spChg chg="mod">
          <ac:chgData name="Melanie V Bookstaver" userId="4498c51e-6705-402a-9d37-4e556b7ecba8" providerId="ADAL" clId="{DA43ACE5-048B-BC41-80A7-BC6AB07FD63B}" dt="2024-02-08T04:37:44.619" v="31" actId="207"/>
          <ac:spMkLst>
            <pc:docMk/>
            <pc:sldMk cId="3949028895" sldId="2147468907"/>
            <ac:spMk id="754" creationId="{5F91EB7D-D314-30D6-847D-06BE77DBEA3B}"/>
          </ac:spMkLst>
        </pc:spChg>
        <pc:spChg chg="mod">
          <ac:chgData name="Melanie V Bookstaver" userId="4498c51e-6705-402a-9d37-4e556b7ecba8" providerId="ADAL" clId="{DA43ACE5-048B-BC41-80A7-BC6AB07FD63B}" dt="2024-02-08T04:37:44.619" v="31" actId="207"/>
          <ac:spMkLst>
            <pc:docMk/>
            <pc:sldMk cId="3949028895" sldId="2147468907"/>
            <ac:spMk id="758" creationId="{41A9C5F2-6D54-DA80-67DC-8A80B60F680B}"/>
          </ac:spMkLst>
        </pc:spChg>
      </pc:sldChg>
      <pc:sldChg chg="modSp mod">
        <pc:chgData name="Melanie V Bookstaver" userId="4498c51e-6705-402a-9d37-4e556b7ecba8" providerId="ADAL" clId="{DA43ACE5-048B-BC41-80A7-BC6AB07FD63B}" dt="2024-02-08T04:33:34.286" v="8" actId="207"/>
        <pc:sldMkLst>
          <pc:docMk/>
          <pc:sldMk cId="67973762" sldId="2147468930"/>
        </pc:sldMkLst>
        <pc:spChg chg="mod">
          <ac:chgData name="Melanie V Bookstaver" userId="4498c51e-6705-402a-9d37-4e556b7ecba8" providerId="ADAL" clId="{DA43ACE5-048B-BC41-80A7-BC6AB07FD63B}" dt="2024-02-08T04:33:34.286" v="8" actId="207"/>
          <ac:spMkLst>
            <pc:docMk/>
            <pc:sldMk cId="67973762" sldId="2147468930"/>
            <ac:spMk id="751" creationId="{3D178A78-CD9B-9B57-381E-6C79E4F668FB}"/>
          </ac:spMkLst>
        </pc:spChg>
      </pc:sldChg>
      <pc:sldChg chg="addSp modSp addCm">
        <pc:chgData name="Melanie V Bookstaver" userId="4498c51e-6705-402a-9d37-4e556b7ecba8" providerId="ADAL" clId="{DA43ACE5-048B-BC41-80A7-BC6AB07FD63B}" dt="2024-02-08T04:26:15.463" v="2"/>
        <pc:sldMkLst>
          <pc:docMk/>
          <pc:sldMk cId="2121165865" sldId="2147468999"/>
        </pc:sldMkLst>
        <pc:spChg chg="add mod">
          <ac:chgData name="Melanie V Bookstaver" userId="4498c51e-6705-402a-9d37-4e556b7ecba8" providerId="ADAL" clId="{DA43ACE5-048B-BC41-80A7-BC6AB07FD63B}" dt="2024-02-08T04:24:16.824" v="1"/>
          <ac:spMkLst>
            <pc:docMk/>
            <pc:sldMk cId="2121165865" sldId="2147468999"/>
            <ac:spMk id="3" creationId="{117D4E76-B3A1-717B-5C07-4BEB03A2C018}"/>
          </ac:spMkLst>
        </pc:spChg>
        <pc:extLst>
          <p:ext xmlns:p="http://schemas.openxmlformats.org/presentationml/2006/main" uri="{D6D511B9-2390-475A-947B-AFAB55BFBCF1}">
            <pc226:cmChg xmlns:pc226="http://schemas.microsoft.com/office/powerpoint/2022/06/main/command" chg="add">
              <pc226:chgData name="Melanie V Bookstaver" userId="4498c51e-6705-402a-9d37-4e556b7ecba8" providerId="ADAL" clId="{DA43ACE5-048B-BC41-80A7-BC6AB07FD63B}" dt="2024-02-08T04:26:15.463" v="2"/>
              <pc2:cmMkLst xmlns:pc2="http://schemas.microsoft.com/office/powerpoint/2019/9/main/command">
                <pc:docMk/>
                <pc:sldMk cId="2121165865" sldId="2147468999"/>
                <pc2:cmMk id="{F4A4A31F-A46E-0742-9FF3-536C822BC07D}"/>
              </pc2:cmMkLst>
            </pc226:cmChg>
          </p:ext>
        </pc:extLst>
      </pc:sldChg>
      <pc:sldChg chg="modSp mod chgLayout">
        <pc:chgData name="Melanie V Bookstaver" userId="4498c51e-6705-402a-9d37-4e556b7ecba8" providerId="ADAL" clId="{DA43ACE5-048B-BC41-80A7-BC6AB07FD63B}" dt="2024-02-08T04:26:52.270" v="3" actId="700"/>
        <pc:sldMkLst>
          <pc:docMk/>
          <pc:sldMk cId="556885745" sldId="2147469000"/>
        </pc:sldMkLst>
        <pc:spChg chg="mod ord">
          <ac:chgData name="Melanie V Bookstaver" userId="4498c51e-6705-402a-9d37-4e556b7ecba8" providerId="ADAL" clId="{DA43ACE5-048B-BC41-80A7-BC6AB07FD63B}" dt="2024-02-08T04:26:52.270" v="3" actId="700"/>
          <ac:spMkLst>
            <pc:docMk/>
            <pc:sldMk cId="556885745" sldId="2147469000"/>
            <ac:spMk id="2" creationId="{8C6D3A18-C9D4-EF53-642D-E377414071AA}"/>
          </ac:spMkLst>
        </pc:spChg>
      </pc:sldChg>
      <pc:sldChg chg="modSp mod chgLayout">
        <pc:chgData name="Melanie V Bookstaver" userId="4498c51e-6705-402a-9d37-4e556b7ecba8" providerId="ADAL" clId="{DA43ACE5-048B-BC41-80A7-BC6AB07FD63B}" dt="2024-02-08T04:35:31.963" v="11" actId="700"/>
        <pc:sldMkLst>
          <pc:docMk/>
          <pc:sldMk cId="1191640343" sldId="2147469001"/>
        </pc:sldMkLst>
        <pc:spChg chg="mod ord">
          <ac:chgData name="Melanie V Bookstaver" userId="4498c51e-6705-402a-9d37-4e556b7ecba8" providerId="ADAL" clId="{DA43ACE5-048B-BC41-80A7-BC6AB07FD63B}" dt="2024-02-08T04:35:31.963" v="11" actId="700"/>
          <ac:spMkLst>
            <pc:docMk/>
            <pc:sldMk cId="1191640343" sldId="2147469001"/>
            <ac:spMk id="2" creationId="{6EC15458-CABC-674F-8A91-CBE59CB9F375}"/>
          </ac:spMkLst>
        </pc:spChg>
      </pc:sldChg>
      <pc:sldChg chg="modSp mod chgLayout">
        <pc:chgData name="Melanie V Bookstaver" userId="4498c51e-6705-402a-9d37-4e556b7ecba8" providerId="ADAL" clId="{DA43ACE5-048B-BC41-80A7-BC6AB07FD63B}" dt="2024-02-08T04:35:43.145" v="12" actId="700"/>
        <pc:sldMkLst>
          <pc:docMk/>
          <pc:sldMk cId="2826756863" sldId="2147469002"/>
        </pc:sldMkLst>
        <pc:spChg chg="mod ord">
          <ac:chgData name="Melanie V Bookstaver" userId="4498c51e-6705-402a-9d37-4e556b7ecba8" providerId="ADAL" clId="{DA43ACE5-048B-BC41-80A7-BC6AB07FD63B}" dt="2024-02-08T04:35:43.145" v="12" actId="700"/>
          <ac:spMkLst>
            <pc:docMk/>
            <pc:sldMk cId="2826756863" sldId="2147469002"/>
            <ac:spMk id="2" creationId="{D98D34BC-C6E3-2F56-BF5B-4A786DB08B24}"/>
          </ac:spMkLst>
        </pc:spChg>
      </pc:sldChg>
      <pc:sldChg chg="modSp mod chgLayout">
        <pc:chgData name="Melanie V Bookstaver" userId="4498c51e-6705-402a-9d37-4e556b7ecba8" providerId="ADAL" clId="{DA43ACE5-048B-BC41-80A7-BC6AB07FD63B}" dt="2024-02-08T04:35:49.679" v="13" actId="700"/>
        <pc:sldMkLst>
          <pc:docMk/>
          <pc:sldMk cId="753096132" sldId="2147469003"/>
        </pc:sldMkLst>
        <pc:spChg chg="mod ord">
          <ac:chgData name="Melanie V Bookstaver" userId="4498c51e-6705-402a-9d37-4e556b7ecba8" providerId="ADAL" clId="{DA43ACE5-048B-BC41-80A7-BC6AB07FD63B}" dt="2024-02-08T04:35:49.679" v="13" actId="700"/>
          <ac:spMkLst>
            <pc:docMk/>
            <pc:sldMk cId="753096132" sldId="2147469003"/>
            <ac:spMk id="2" creationId="{6BC0C42B-4ED3-4BAB-83AB-9176721DE0BA}"/>
          </ac:spMkLst>
        </pc:spChg>
      </pc:sldChg>
      <pc:sldChg chg="modSp mod chgLayout">
        <pc:chgData name="Melanie V Bookstaver" userId="4498c51e-6705-402a-9d37-4e556b7ecba8" providerId="ADAL" clId="{DA43ACE5-048B-BC41-80A7-BC6AB07FD63B}" dt="2024-02-08T04:35:54.181" v="14" actId="700"/>
        <pc:sldMkLst>
          <pc:docMk/>
          <pc:sldMk cId="1875655298" sldId="2147469004"/>
        </pc:sldMkLst>
        <pc:spChg chg="mod ord">
          <ac:chgData name="Melanie V Bookstaver" userId="4498c51e-6705-402a-9d37-4e556b7ecba8" providerId="ADAL" clId="{DA43ACE5-048B-BC41-80A7-BC6AB07FD63B}" dt="2024-02-08T04:35:54.181" v="14" actId="700"/>
          <ac:spMkLst>
            <pc:docMk/>
            <pc:sldMk cId="1875655298" sldId="2147469004"/>
            <ac:spMk id="2" creationId="{698257E0-F739-DD58-C0B7-649C78D50C4E}"/>
          </ac:spMkLst>
        </pc:spChg>
      </pc:sldChg>
      <pc:sldChg chg="modSp mod">
        <pc:chgData name="Melanie V Bookstaver" userId="4498c51e-6705-402a-9d37-4e556b7ecba8" providerId="ADAL" clId="{DA43ACE5-048B-BC41-80A7-BC6AB07FD63B}" dt="2024-02-08T04:21:43.569" v="0" actId="255"/>
        <pc:sldMkLst>
          <pc:docMk/>
          <pc:sldMk cId="2279469819" sldId="2147469005"/>
        </pc:sldMkLst>
        <pc:spChg chg="mod">
          <ac:chgData name="Melanie V Bookstaver" userId="4498c51e-6705-402a-9d37-4e556b7ecba8" providerId="ADAL" clId="{DA43ACE5-048B-BC41-80A7-BC6AB07FD63B}" dt="2024-02-08T04:21:43.569" v="0" actId="255"/>
          <ac:spMkLst>
            <pc:docMk/>
            <pc:sldMk cId="2279469819" sldId="2147469005"/>
            <ac:spMk id="3" creationId="{B20892C1-70C1-7417-ABCD-3DAF297ABF0A}"/>
          </ac:spMkLst>
        </pc:spChg>
        <pc:spChg chg="mod">
          <ac:chgData name="Melanie V Bookstaver" userId="4498c51e-6705-402a-9d37-4e556b7ecba8" providerId="ADAL" clId="{DA43ACE5-048B-BC41-80A7-BC6AB07FD63B}" dt="2024-02-08T04:21:43.569" v="0" actId="255"/>
          <ac:spMkLst>
            <pc:docMk/>
            <pc:sldMk cId="2279469819" sldId="2147469005"/>
            <ac:spMk id="4" creationId="{EB07B54A-EAFD-8303-7EFF-AA740212A94D}"/>
          </ac:spMkLst>
        </pc:spChg>
      </pc:sldChg>
      <pc:sldChg chg="modSp mod chgLayout">
        <pc:chgData name="Melanie V Bookstaver" userId="4498c51e-6705-402a-9d37-4e556b7ecba8" providerId="ADAL" clId="{DA43ACE5-048B-BC41-80A7-BC6AB07FD63B}" dt="2024-02-08T04:35:59.625" v="15" actId="700"/>
        <pc:sldMkLst>
          <pc:docMk/>
          <pc:sldMk cId="3562478255" sldId="2147469006"/>
        </pc:sldMkLst>
        <pc:spChg chg="mod ord">
          <ac:chgData name="Melanie V Bookstaver" userId="4498c51e-6705-402a-9d37-4e556b7ecba8" providerId="ADAL" clId="{DA43ACE5-048B-BC41-80A7-BC6AB07FD63B}" dt="2024-02-08T04:35:59.625" v="15" actId="700"/>
          <ac:spMkLst>
            <pc:docMk/>
            <pc:sldMk cId="3562478255" sldId="2147469006"/>
            <ac:spMk id="2" creationId="{698257E0-F739-DD58-C0B7-649C78D50C4E}"/>
          </ac:spMkLst>
        </pc:spChg>
      </pc:sldChg>
      <pc:sldChg chg="modSp mod chgLayout">
        <pc:chgData name="Melanie V Bookstaver" userId="4498c51e-6705-402a-9d37-4e556b7ecba8" providerId="ADAL" clId="{DA43ACE5-048B-BC41-80A7-BC6AB07FD63B}" dt="2024-02-08T04:36:03.249" v="16" actId="700"/>
        <pc:sldMkLst>
          <pc:docMk/>
          <pc:sldMk cId="3737677404" sldId="2147469007"/>
        </pc:sldMkLst>
        <pc:spChg chg="mod ord">
          <ac:chgData name="Melanie V Bookstaver" userId="4498c51e-6705-402a-9d37-4e556b7ecba8" providerId="ADAL" clId="{DA43ACE5-048B-BC41-80A7-BC6AB07FD63B}" dt="2024-02-08T04:36:03.249" v="16" actId="700"/>
          <ac:spMkLst>
            <pc:docMk/>
            <pc:sldMk cId="3737677404" sldId="2147469007"/>
            <ac:spMk id="2" creationId="{698257E0-F739-DD58-C0B7-649C78D50C4E}"/>
          </ac:spMkLst>
        </pc:spChg>
      </pc:sldChg>
      <pc:sldChg chg="modSp mod chgLayout">
        <pc:chgData name="Melanie V Bookstaver" userId="4498c51e-6705-402a-9d37-4e556b7ecba8" providerId="ADAL" clId="{DA43ACE5-048B-BC41-80A7-BC6AB07FD63B}" dt="2024-02-08T04:36:08.026" v="17" actId="700"/>
        <pc:sldMkLst>
          <pc:docMk/>
          <pc:sldMk cId="611290531" sldId="2147469008"/>
        </pc:sldMkLst>
        <pc:spChg chg="mod ord">
          <ac:chgData name="Melanie V Bookstaver" userId="4498c51e-6705-402a-9d37-4e556b7ecba8" providerId="ADAL" clId="{DA43ACE5-048B-BC41-80A7-BC6AB07FD63B}" dt="2024-02-08T04:36:08.026" v="17" actId="700"/>
          <ac:spMkLst>
            <pc:docMk/>
            <pc:sldMk cId="611290531" sldId="2147469008"/>
            <ac:spMk id="2" creationId="{698257E0-F739-DD58-C0B7-649C78D50C4E}"/>
          </ac:spMkLst>
        </pc:spChg>
      </pc:sldChg>
      <pc:sldChg chg="modSp mod chgLayout">
        <pc:chgData name="Melanie V Bookstaver" userId="4498c51e-6705-402a-9d37-4e556b7ecba8" providerId="ADAL" clId="{DA43ACE5-048B-BC41-80A7-BC6AB07FD63B}" dt="2024-02-08T04:36:12.932" v="18" actId="700"/>
        <pc:sldMkLst>
          <pc:docMk/>
          <pc:sldMk cId="2609620463" sldId="2147469009"/>
        </pc:sldMkLst>
        <pc:spChg chg="mod ord">
          <ac:chgData name="Melanie V Bookstaver" userId="4498c51e-6705-402a-9d37-4e556b7ecba8" providerId="ADAL" clId="{DA43ACE5-048B-BC41-80A7-BC6AB07FD63B}" dt="2024-02-08T04:36:12.932" v="18" actId="700"/>
          <ac:spMkLst>
            <pc:docMk/>
            <pc:sldMk cId="2609620463" sldId="2147469009"/>
            <ac:spMk id="2" creationId="{698257E0-F739-DD58-C0B7-649C78D50C4E}"/>
          </ac:spMkLst>
        </pc:spChg>
      </pc:sldChg>
      <pc:sldChg chg="modSp mod chgLayout">
        <pc:chgData name="Melanie V Bookstaver" userId="4498c51e-6705-402a-9d37-4e556b7ecba8" providerId="ADAL" clId="{DA43ACE5-048B-BC41-80A7-BC6AB07FD63B}" dt="2024-02-08T04:36:17.743" v="19" actId="700"/>
        <pc:sldMkLst>
          <pc:docMk/>
          <pc:sldMk cId="2616428259" sldId="2147469010"/>
        </pc:sldMkLst>
        <pc:spChg chg="mod ord">
          <ac:chgData name="Melanie V Bookstaver" userId="4498c51e-6705-402a-9d37-4e556b7ecba8" providerId="ADAL" clId="{DA43ACE5-048B-BC41-80A7-BC6AB07FD63B}" dt="2024-02-08T04:36:17.743" v="19" actId="700"/>
          <ac:spMkLst>
            <pc:docMk/>
            <pc:sldMk cId="2616428259" sldId="2147469010"/>
            <ac:spMk id="2" creationId="{698257E0-F739-DD58-C0B7-649C78D50C4E}"/>
          </ac:spMkLst>
        </pc:spChg>
      </pc:sldChg>
      <pc:sldChg chg="modSp mod chgLayout">
        <pc:chgData name="Melanie V Bookstaver" userId="4498c51e-6705-402a-9d37-4e556b7ecba8" providerId="ADAL" clId="{DA43ACE5-048B-BC41-80A7-BC6AB07FD63B}" dt="2024-02-08T04:36:23.098" v="20" actId="700"/>
        <pc:sldMkLst>
          <pc:docMk/>
          <pc:sldMk cId="2460470362" sldId="2147469011"/>
        </pc:sldMkLst>
        <pc:spChg chg="mod ord">
          <ac:chgData name="Melanie V Bookstaver" userId="4498c51e-6705-402a-9d37-4e556b7ecba8" providerId="ADAL" clId="{DA43ACE5-048B-BC41-80A7-BC6AB07FD63B}" dt="2024-02-08T04:36:23.098" v="20" actId="700"/>
          <ac:spMkLst>
            <pc:docMk/>
            <pc:sldMk cId="2460470362" sldId="2147469011"/>
            <ac:spMk id="2" creationId="{698257E0-F739-DD58-C0B7-649C78D50C4E}"/>
          </ac:spMkLst>
        </pc:spChg>
      </pc:sldChg>
      <pc:sldChg chg="modSp mod chgLayout">
        <pc:chgData name="Melanie V Bookstaver" userId="4498c51e-6705-402a-9d37-4e556b7ecba8" providerId="ADAL" clId="{DA43ACE5-048B-BC41-80A7-BC6AB07FD63B}" dt="2024-02-08T04:36:28.321" v="21" actId="700"/>
        <pc:sldMkLst>
          <pc:docMk/>
          <pc:sldMk cId="2120865265" sldId="2147469012"/>
        </pc:sldMkLst>
        <pc:spChg chg="mod ord">
          <ac:chgData name="Melanie V Bookstaver" userId="4498c51e-6705-402a-9d37-4e556b7ecba8" providerId="ADAL" clId="{DA43ACE5-048B-BC41-80A7-BC6AB07FD63B}" dt="2024-02-08T04:36:28.321" v="21" actId="700"/>
          <ac:spMkLst>
            <pc:docMk/>
            <pc:sldMk cId="2120865265" sldId="2147469012"/>
            <ac:spMk id="2" creationId="{698257E0-F739-DD58-C0B7-649C78D50C4E}"/>
          </ac:spMkLst>
        </pc:spChg>
      </pc:sldChg>
      <pc:sldChg chg="modSp mod chgLayout">
        <pc:chgData name="Melanie V Bookstaver" userId="4498c51e-6705-402a-9d37-4e556b7ecba8" providerId="ADAL" clId="{DA43ACE5-048B-BC41-80A7-BC6AB07FD63B}" dt="2024-02-08T04:36:36.400" v="23" actId="700"/>
        <pc:sldMkLst>
          <pc:docMk/>
          <pc:sldMk cId="2905389654" sldId="2147469013"/>
        </pc:sldMkLst>
        <pc:spChg chg="mod ord">
          <ac:chgData name="Melanie V Bookstaver" userId="4498c51e-6705-402a-9d37-4e556b7ecba8" providerId="ADAL" clId="{DA43ACE5-048B-BC41-80A7-BC6AB07FD63B}" dt="2024-02-08T04:36:36.400" v="23" actId="700"/>
          <ac:spMkLst>
            <pc:docMk/>
            <pc:sldMk cId="2905389654" sldId="2147469013"/>
            <ac:spMk id="2" creationId="{698257E0-F739-DD58-C0B7-649C78D50C4E}"/>
          </ac:spMkLst>
        </pc:spChg>
      </pc:sldChg>
      <pc:sldChg chg="modSp mod chgLayout">
        <pc:chgData name="Melanie V Bookstaver" userId="4498c51e-6705-402a-9d37-4e556b7ecba8" providerId="ADAL" clId="{DA43ACE5-048B-BC41-80A7-BC6AB07FD63B}" dt="2024-02-08T04:36:39.797" v="24" actId="700"/>
        <pc:sldMkLst>
          <pc:docMk/>
          <pc:sldMk cId="2747368127" sldId="2147469014"/>
        </pc:sldMkLst>
        <pc:spChg chg="mod ord">
          <ac:chgData name="Melanie V Bookstaver" userId="4498c51e-6705-402a-9d37-4e556b7ecba8" providerId="ADAL" clId="{DA43ACE5-048B-BC41-80A7-BC6AB07FD63B}" dt="2024-02-08T04:36:39.797" v="24" actId="700"/>
          <ac:spMkLst>
            <pc:docMk/>
            <pc:sldMk cId="2747368127" sldId="2147469014"/>
            <ac:spMk id="2" creationId="{698257E0-F739-DD58-C0B7-649C78D50C4E}"/>
          </ac:spMkLst>
        </pc:spChg>
      </pc:sldChg>
      <pc:sldChg chg="modSp mod chgLayout">
        <pc:chgData name="Melanie V Bookstaver" userId="4498c51e-6705-402a-9d37-4e556b7ecba8" providerId="ADAL" clId="{DA43ACE5-048B-BC41-80A7-BC6AB07FD63B}" dt="2024-02-08T04:36:49.864" v="25" actId="700"/>
        <pc:sldMkLst>
          <pc:docMk/>
          <pc:sldMk cId="1332732254" sldId="2147469015"/>
        </pc:sldMkLst>
        <pc:spChg chg="mod ord">
          <ac:chgData name="Melanie V Bookstaver" userId="4498c51e-6705-402a-9d37-4e556b7ecba8" providerId="ADAL" clId="{DA43ACE5-048B-BC41-80A7-BC6AB07FD63B}" dt="2024-02-08T04:36:49.864" v="25" actId="700"/>
          <ac:spMkLst>
            <pc:docMk/>
            <pc:sldMk cId="1332732254" sldId="2147469015"/>
            <ac:spMk id="2" creationId="{698257E0-F739-DD58-C0B7-649C78D50C4E}"/>
          </ac:spMkLst>
        </pc:spChg>
      </pc:sldChg>
      <pc:sldChg chg="modSp mod chgLayout">
        <pc:chgData name="Melanie V Bookstaver" userId="4498c51e-6705-402a-9d37-4e556b7ecba8" providerId="ADAL" clId="{DA43ACE5-048B-BC41-80A7-BC6AB07FD63B}" dt="2024-02-08T04:36:31.948" v="22" actId="700"/>
        <pc:sldMkLst>
          <pc:docMk/>
          <pc:sldMk cId="3993229336" sldId="2147469016"/>
        </pc:sldMkLst>
        <pc:spChg chg="mod ord">
          <ac:chgData name="Melanie V Bookstaver" userId="4498c51e-6705-402a-9d37-4e556b7ecba8" providerId="ADAL" clId="{DA43ACE5-048B-BC41-80A7-BC6AB07FD63B}" dt="2024-02-08T04:36:31.948" v="22" actId="700"/>
          <ac:spMkLst>
            <pc:docMk/>
            <pc:sldMk cId="3993229336" sldId="2147469016"/>
            <ac:spMk id="2" creationId="{698257E0-F739-DD58-C0B7-649C78D50C4E}"/>
          </ac:spMkLst>
        </pc:spChg>
      </pc:sldChg>
      <pc:sldChg chg="modSp mod chgLayout">
        <pc:chgData name="Melanie V Bookstaver" userId="4498c51e-6705-402a-9d37-4e556b7ecba8" providerId="ADAL" clId="{DA43ACE5-048B-BC41-80A7-BC6AB07FD63B}" dt="2024-02-08T04:37:00.388" v="27" actId="700"/>
        <pc:sldMkLst>
          <pc:docMk/>
          <pc:sldMk cId="2806602680" sldId="2147469017"/>
        </pc:sldMkLst>
        <pc:spChg chg="mod ord">
          <ac:chgData name="Melanie V Bookstaver" userId="4498c51e-6705-402a-9d37-4e556b7ecba8" providerId="ADAL" clId="{DA43ACE5-048B-BC41-80A7-BC6AB07FD63B}" dt="2024-02-08T04:37:00.388" v="27" actId="700"/>
          <ac:spMkLst>
            <pc:docMk/>
            <pc:sldMk cId="2806602680" sldId="2147469017"/>
            <ac:spMk id="2" creationId="{698257E0-F739-DD58-C0B7-649C78D50C4E}"/>
          </ac:spMkLst>
        </pc:spChg>
      </pc:sldChg>
      <pc:sldChg chg="modSp mod chgLayout">
        <pc:chgData name="Melanie V Bookstaver" userId="4498c51e-6705-402a-9d37-4e556b7ecba8" providerId="ADAL" clId="{DA43ACE5-048B-BC41-80A7-BC6AB07FD63B}" dt="2024-02-08T04:36:55.428" v="26" actId="700"/>
        <pc:sldMkLst>
          <pc:docMk/>
          <pc:sldMk cId="4062566225" sldId="2147469018"/>
        </pc:sldMkLst>
        <pc:spChg chg="mod ord">
          <ac:chgData name="Melanie V Bookstaver" userId="4498c51e-6705-402a-9d37-4e556b7ecba8" providerId="ADAL" clId="{DA43ACE5-048B-BC41-80A7-BC6AB07FD63B}" dt="2024-02-08T04:36:55.428" v="26" actId="700"/>
          <ac:spMkLst>
            <pc:docMk/>
            <pc:sldMk cId="4062566225" sldId="2147469018"/>
            <ac:spMk id="2" creationId="{698257E0-F739-DD58-C0B7-649C78D50C4E}"/>
          </ac:spMkLst>
        </pc:spChg>
      </pc:sldChg>
      <pc:sldChg chg="modSp mod chgLayout">
        <pc:chgData name="Melanie V Bookstaver" userId="4498c51e-6705-402a-9d37-4e556b7ecba8" providerId="ADAL" clId="{DA43ACE5-048B-BC41-80A7-BC6AB07FD63B}" dt="2024-02-08T04:37:04.615" v="28" actId="700"/>
        <pc:sldMkLst>
          <pc:docMk/>
          <pc:sldMk cId="2067723441" sldId="2147469019"/>
        </pc:sldMkLst>
        <pc:spChg chg="mod ord">
          <ac:chgData name="Melanie V Bookstaver" userId="4498c51e-6705-402a-9d37-4e556b7ecba8" providerId="ADAL" clId="{DA43ACE5-048B-BC41-80A7-BC6AB07FD63B}" dt="2024-02-08T04:37:04.615" v="28" actId="700"/>
          <ac:spMkLst>
            <pc:docMk/>
            <pc:sldMk cId="2067723441" sldId="2147469019"/>
            <ac:spMk id="2" creationId="{698257E0-F739-DD58-C0B7-649C78D50C4E}"/>
          </ac:spMkLst>
        </pc:spChg>
      </pc:sldChg>
      <pc:sldChg chg="modSp mod chgLayout">
        <pc:chgData name="Melanie V Bookstaver" userId="4498c51e-6705-402a-9d37-4e556b7ecba8" providerId="ADAL" clId="{DA43ACE5-048B-BC41-80A7-BC6AB07FD63B}" dt="2024-02-08T04:37:08.761" v="29" actId="700"/>
        <pc:sldMkLst>
          <pc:docMk/>
          <pc:sldMk cId="3618575040" sldId="2147469020"/>
        </pc:sldMkLst>
        <pc:spChg chg="mod ord">
          <ac:chgData name="Melanie V Bookstaver" userId="4498c51e-6705-402a-9d37-4e556b7ecba8" providerId="ADAL" clId="{DA43ACE5-048B-BC41-80A7-BC6AB07FD63B}" dt="2024-02-08T04:37:08.761" v="29" actId="700"/>
          <ac:spMkLst>
            <pc:docMk/>
            <pc:sldMk cId="3618575040" sldId="2147469020"/>
            <ac:spMk id="2" creationId="{698257E0-F739-DD58-C0B7-649C78D50C4E}"/>
          </ac:spMkLst>
        </pc:spChg>
      </pc:sldChg>
      <pc:sldChg chg="modSp mod chgLayout">
        <pc:chgData name="Melanie V Bookstaver" userId="4498c51e-6705-402a-9d37-4e556b7ecba8" providerId="ADAL" clId="{DA43ACE5-048B-BC41-80A7-BC6AB07FD63B}" dt="2024-02-08T04:37:12.272" v="30" actId="700"/>
        <pc:sldMkLst>
          <pc:docMk/>
          <pc:sldMk cId="1615218575" sldId="2147469021"/>
        </pc:sldMkLst>
        <pc:spChg chg="mod ord">
          <ac:chgData name="Melanie V Bookstaver" userId="4498c51e-6705-402a-9d37-4e556b7ecba8" providerId="ADAL" clId="{DA43ACE5-048B-BC41-80A7-BC6AB07FD63B}" dt="2024-02-08T04:37:12.272" v="30" actId="700"/>
          <ac:spMkLst>
            <pc:docMk/>
            <pc:sldMk cId="1615218575" sldId="2147469021"/>
            <ac:spMk id="2" creationId="{698257E0-F739-DD58-C0B7-649C78D50C4E}"/>
          </ac:spMkLst>
        </pc:spChg>
      </pc:sldChg>
    </pc:docChg>
  </pc:docChgLst>
  <pc:docChgLst>
    <pc:chgData name="Pallavi Bothra" userId="f6f57c13-3a62-40cf-a90c-f5277fad9e73" providerId="ADAL" clId="{DB4DDA6F-E09D-4172-9A26-E38A154DDBA0}"/>
    <pc:docChg chg="undo custSel addSld delSld modSld sldOrd">
      <pc:chgData name="Pallavi Bothra" userId="f6f57c13-3a62-40cf-a90c-f5277fad9e73" providerId="ADAL" clId="{DB4DDA6F-E09D-4172-9A26-E38A154DDBA0}" dt="2024-01-25T06:23:54.490" v="1355" actId="20577"/>
      <pc:docMkLst>
        <pc:docMk/>
      </pc:docMkLst>
      <pc:sldChg chg="modNotesTx">
        <pc:chgData name="Pallavi Bothra" userId="f6f57c13-3a62-40cf-a90c-f5277fad9e73" providerId="ADAL" clId="{DB4DDA6F-E09D-4172-9A26-E38A154DDBA0}" dt="2024-01-22T11:58:21.794" v="1009" actId="6549"/>
        <pc:sldMkLst>
          <pc:docMk/>
          <pc:sldMk cId="1724820659" sldId="2147468884"/>
        </pc:sldMkLst>
      </pc:sldChg>
      <pc:sldChg chg="modNotesTx">
        <pc:chgData name="Pallavi Bothra" userId="f6f57c13-3a62-40cf-a90c-f5277fad9e73" providerId="ADAL" clId="{DB4DDA6F-E09D-4172-9A26-E38A154DDBA0}" dt="2024-01-22T11:58:03.138" v="1004" actId="6549"/>
        <pc:sldMkLst>
          <pc:docMk/>
          <pc:sldMk cId="2795186164" sldId="2147468885"/>
        </pc:sldMkLst>
      </pc:sldChg>
      <pc:sldChg chg="modNotesTx">
        <pc:chgData name="Pallavi Bothra" userId="f6f57c13-3a62-40cf-a90c-f5277fad9e73" providerId="ADAL" clId="{DB4DDA6F-E09D-4172-9A26-E38A154DDBA0}" dt="2024-01-22T11:58:06.335" v="1005" actId="6549"/>
        <pc:sldMkLst>
          <pc:docMk/>
          <pc:sldMk cId="196815597" sldId="2147468886"/>
        </pc:sldMkLst>
      </pc:sldChg>
      <pc:sldChg chg="modNotesTx">
        <pc:chgData name="Pallavi Bothra" userId="f6f57c13-3a62-40cf-a90c-f5277fad9e73" providerId="ADAL" clId="{DB4DDA6F-E09D-4172-9A26-E38A154DDBA0}" dt="2024-01-22T11:58:12.673" v="1006" actId="6549"/>
        <pc:sldMkLst>
          <pc:docMk/>
          <pc:sldMk cId="2796222228" sldId="2147468887"/>
        </pc:sldMkLst>
      </pc:sldChg>
      <pc:sldChg chg="addSp delSp modSp mod modNotesTx">
        <pc:chgData name="Pallavi Bothra" userId="f6f57c13-3a62-40cf-a90c-f5277fad9e73" providerId="ADAL" clId="{DB4DDA6F-E09D-4172-9A26-E38A154DDBA0}" dt="2024-01-22T12:03:27.265" v="1065"/>
        <pc:sldMkLst>
          <pc:docMk/>
          <pc:sldMk cId="1784610147" sldId="2147468888"/>
        </pc:sldMkLst>
        <pc:spChg chg="add mod">
          <ac:chgData name="Pallavi Bothra" userId="f6f57c13-3a62-40cf-a90c-f5277fad9e73" providerId="ADAL" clId="{DB4DDA6F-E09D-4172-9A26-E38A154DDBA0}" dt="2024-01-22T12:03:27.265" v="1065"/>
          <ac:spMkLst>
            <pc:docMk/>
            <pc:sldMk cId="1784610147" sldId="2147468888"/>
            <ac:spMk id="16" creationId="{A515A911-4A17-3977-171A-A1C5B383CCEE}"/>
          </ac:spMkLst>
        </pc:spChg>
        <pc:spChg chg="del">
          <ac:chgData name="Pallavi Bothra" userId="f6f57c13-3a62-40cf-a90c-f5277fad9e73" providerId="ADAL" clId="{DB4DDA6F-E09D-4172-9A26-E38A154DDBA0}" dt="2024-01-22T12:02:48.297" v="1062" actId="478"/>
          <ac:spMkLst>
            <pc:docMk/>
            <pc:sldMk cId="1784610147" sldId="2147468888"/>
            <ac:spMk id="759" creationId="{3BADE806-97C4-C52D-6972-2F312E7D9938}"/>
          </ac:spMkLst>
        </pc:spChg>
        <pc:picChg chg="add mod">
          <ac:chgData name="Pallavi Bothra" userId="f6f57c13-3a62-40cf-a90c-f5277fad9e73" providerId="ADAL" clId="{DB4DDA6F-E09D-4172-9A26-E38A154DDBA0}" dt="2024-01-22T12:03:27.265" v="1065"/>
          <ac:picMkLst>
            <pc:docMk/>
            <pc:sldMk cId="1784610147" sldId="2147468888"/>
            <ac:picMk id="17" creationId="{AEDD97FC-BC53-9E8B-30DC-201FF1A33EBF}"/>
          </ac:picMkLst>
        </pc:picChg>
        <pc:picChg chg="del">
          <ac:chgData name="Pallavi Bothra" userId="f6f57c13-3a62-40cf-a90c-f5277fad9e73" providerId="ADAL" clId="{DB4DDA6F-E09D-4172-9A26-E38A154DDBA0}" dt="2024-01-22T12:02:49.705" v="1063" actId="478"/>
          <ac:picMkLst>
            <pc:docMk/>
            <pc:sldMk cId="1784610147" sldId="2147468888"/>
            <ac:picMk id="1026" creationId="{91BADC15-A1EF-DC06-C5EF-D39F1A22052A}"/>
          </ac:picMkLst>
        </pc:picChg>
      </pc:sldChg>
      <pc:sldChg chg="modNotesTx">
        <pc:chgData name="Pallavi Bothra" userId="f6f57c13-3a62-40cf-a90c-f5277fad9e73" providerId="ADAL" clId="{DB4DDA6F-E09D-4172-9A26-E38A154DDBA0}" dt="2024-01-22T11:58:19.111" v="1008" actId="6549"/>
        <pc:sldMkLst>
          <pc:docMk/>
          <pc:sldMk cId="653031102" sldId="2147468889"/>
        </pc:sldMkLst>
      </pc:sldChg>
      <pc:sldChg chg="modNotesTx">
        <pc:chgData name="Pallavi Bothra" userId="f6f57c13-3a62-40cf-a90c-f5277fad9e73" providerId="ADAL" clId="{DB4DDA6F-E09D-4172-9A26-E38A154DDBA0}" dt="2024-01-22T11:58:26.602" v="1010" actId="6549"/>
        <pc:sldMkLst>
          <pc:docMk/>
          <pc:sldMk cId="4085055161" sldId="2147468893"/>
        </pc:sldMkLst>
      </pc:sldChg>
      <pc:sldChg chg="modSp mod modNotesTx">
        <pc:chgData name="Pallavi Bothra" userId="f6f57c13-3a62-40cf-a90c-f5277fad9e73" providerId="ADAL" clId="{DB4DDA6F-E09D-4172-9A26-E38A154DDBA0}" dt="2024-01-22T12:12:41.610" v="1067" actId="20577"/>
        <pc:sldMkLst>
          <pc:docMk/>
          <pc:sldMk cId="3428773387" sldId="2147468894"/>
        </pc:sldMkLst>
        <pc:spChg chg="mod">
          <ac:chgData name="Pallavi Bothra" userId="f6f57c13-3a62-40cf-a90c-f5277fad9e73" providerId="ADAL" clId="{DB4DDA6F-E09D-4172-9A26-E38A154DDBA0}" dt="2024-01-22T12:12:41.610" v="1067" actId="20577"/>
          <ac:spMkLst>
            <pc:docMk/>
            <pc:sldMk cId="3428773387" sldId="2147468894"/>
            <ac:spMk id="3" creationId="{CD53F8CF-6229-2233-414E-29773423F7CF}"/>
          </ac:spMkLst>
        </pc:spChg>
      </pc:sldChg>
      <pc:sldChg chg="modNotesTx">
        <pc:chgData name="Pallavi Bothra" userId="f6f57c13-3a62-40cf-a90c-f5277fad9e73" providerId="ADAL" clId="{DB4DDA6F-E09D-4172-9A26-E38A154DDBA0}" dt="2024-01-22T11:58:33.077" v="1012" actId="6549"/>
        <pc:sldMkLst>
          <pc:docMk/>
          <pc:sldMk cId="1867902529" sldId="2147468895"/>
        </pc:sldMkLst>
      </pc:sldChg>
      <pc:sldChg chg="modNotesTx">
        <pc:chgData name="Pallavi Bothra" userId="f6f57c13-3a62-40cf-a90c-f5277fad9e73" providerId="ADAL" clId="{DB4DDA6F-E09D-4172-9A26-E38A154DDBA0}" dt="2024-01-22T11:58:38.638" v="1013" actId="6549"/>
        <pc:sldMkLst>
          <pc:docMk/>
          <pc:sldMk cId="4235738632" sldId="2147468896"/>
        </pc:sldMkLst>
      </pc:sldChg>
      <pc:sldChg chg="addSp delSp modSp mod modNotesTx">
        <pc:chgData name="Pallavi Bothra" userId="f6f57c13-3a62-40cf-a90c-f5277fad9e73" providerId="ADAL" clId="{DB4DDA6F-E09D-4172-9A26-E38A154DDBA0}" dt="2024-01-22T11:58:42.233" v="1014" actId="6549"/>
        <pc:sldMkLst>
          <pc:docMk/>
          <pc:sldMk cId="1872155148" sldId="2147468897"/>
        </pc:sldMkLst>
        <pc:spChg chg="mod">
          <ac:chgData name="Pallavi Bothra" userId="f6f57c13-3a62-40cf-a90c-f5277fad9e73" providerId="ADAL" clId="{DB4DDA6F-E09D-4172-9A26-E38A154DDBA0}" dt="2024-01-22T11:54:17.520" v="966" actId="6549"/>
          <ac:spMkLst>
            <pc:docMk/>
            <pc:sldMk cId="1872155148" sldId="2147468897"/>
            <ac:spMk id="759" creationId="{3BADE806-97C4-C52D-6972-2F312E7D9938}"/>
          </ac:spMkLst>
        </pc:spChg>
        <pc:picChg chg="del">
          <ac:chgData name="Pallavi Bothra" userId="f6f57c13-3a62-40cf-a90c-f5277fad9e73" providerId="ADAL" clId="{DB4DDA6F-E09D-4172-9A26-E38A154DDBA0}" dt="2024-01-22T11:54:27.021" v="967" actId="478"/>
          <ac:picMkLst>
            <pc:docMk/>
            <pc:sldMk cId="1872155148" sldId="2147468897"/>
            <ac:picMk id="1026" creationId="{91BADC15-A1EF-DC06-C5EF-D39F1A22052A}"/>
          </ac:picMkLst>
        </pc:picChg>
        <pc:picChg chg="add mod">
          <ac:chgData name="Pallavi Bothra" userId="f6f57c13-3a62-40cf-a90c-f5277fad9e73" providerId="ADAL" clId="{DB4DDA6F-E09D-4172-9A26-E38A154DDBA0}" dt="2024-01-22T11:54:47.924" v="973" actId="1076"/>
          <ac:picMkLst>
            <pc:docMk/>
            <pc:sldMk cId="1872155148" sldId="2147468897"/>
            <ac:picMk id="13314" creationId="{8AAB18AB-37CC-1797-17A1-936D12C91586}"/>
          </ac:picMkLst>
        </pc:picChg>
      </pc:sldChg>
      <pc:sldChg chg="addSp delSp modSp mod modNotesTx">
        <pc:chgData name="Pallavi Bothra" userId="f6f57c13-3a62-40cf-a90c-f5277fad9e73" providerId="ADAL" clId="{DB4DDA6F-E09D-4172-9A26-E38A154DDBA0}" dt="2024-01-22T11:58:45.276" v="1015" actId="6549"/>
        <pc:sldMkLst>
          <pc:docMk/>
          <pc:sldMk cId="2116846154" sldId="2147468898"/>
        </pc:sldMkLst>
        <pc:spChg chg="add mod">
          <ac:chgData name="Pallavi Bothra" userId="f6f57c13-3a62-40cf-a90c-f5277fad9e73" providerId="ADAL" clId="{DB4DDA6F-E09D-4172-9A26-E38A154DDBA0}" dt="2024-01-22T11:55:14.761" v="976"/>
          <ac:spMkLst>
            <pc:docMk/>
            <pc:sldMk cId="2116846154" sldId="2147468898"/>
            <ac:spMk id="16" creationId="{0D8086C0-EA81-F87B-D8C2-597714CEE04E}"/>
          </ac:spMkLst>
        </pc:spChg>
        <pc:spChg chg="del">
          <ac:chgData name="Pallavi Bothra" userId="f6f57c13-3a62-40cf-a90c-f5277fad9e73" providerId="ADAL" clId="{DB4DDA6F-E09D-4172-9A26-E38A154DDBA0}" dt="2024-01-22T11:55:14.060" v="975" actId="478"/>
          <ac:spMkLst>
            <pc:docMk/>
            <pc:sldMk cId="2116846154" sldId="2147468898"/>
            <ac:spMk id="759" creationId="{3BADE806-97C4-C52D-6972-2F312E7D9938}"/>
          </ac:spMkLst>
        </pc:spChg>
        <pc:picChg chg="add mod">
          <ac:chgData name="Pallavi Bothra" userId="f6f57c13-3a62-40cf-a90c-f5277fad9e73" providerId="ADAL" clId="{DB4DDA6F-E09D-4172-9A26-E38A154DDBA0}" dt="2024-01-22T11:55:14.761" v="976"/>
          <ac:picMkLst>
            <pc:docMk/>
            <pc:sldMk cId="2116846154" sldId="2147468898"/>
            <ac:picMk id="17" creationId="{3EAD2121-8BF3-ABC3-1BBA-72F2B43B4C36}"/>
          </ac:picMkLst>
        </pc:picChg>
        <pc:picChg chg="del">
          <ac:chgData name="Pallavi Bothra" userId="f6f57c13-3a62-40cf-a90c-f5277fad9e73" providerId="ADAL" clId="{DB4DDA6F-E09D-4172-9A26-E38A154DDBA0}" dt="2024-01-22T11:55:09.871" v="974" actId="478"/>
          <ac:picMkLst>
            <pc:docMk/>
            <pc:sldMk cId="2116846154" sldId="2147468898"/>
            <ac:picMk id="1026" creationId="{91BADC15-A1EF-DC06-C5EF-D39F1A22052A}"/>
          </ac:picMkLst>
        </pc:picChg>
      </pc:sldChg>
      <pc:sldChg chg="modNotesTx">
        <pc:chgData name="Pallavi Bothra" userId="f6f57c13-3a62-40cf-a90c-f5277fad9e73" providerId="ADAL" clId="{DB4DDA6F-E09D-4172-9A26-E38A154DDBA0}" dt="2024-01-22T11:58:48.416" v="1016" actId="6549"/>
        <pc:sldMkLst>
          <pc:docMk/>
          <pc:sldMk cId="3596977636" sldId="2147468899"/>
        </pc:sldMkLst>
      </pc:sldChg>
      <pc:sldChg chg="modNotesTx">
        <pc:chgData name="Pallavi Bothra" userId="f6f57c13-3a62-40cf-a90c-f5277fad9e73" providerId="ADAL" clId="{DB4DDA6F-E09D-4172-9A26-E38A154DDBA0}" dt="2024-01-22T11:58:51.739" v="1017" actId="6549"/>
        <pc:sldMkLst>
          <pc:docMk/>
          <pc:sldMk cId="4040358984" sldId="2147468900"/>
        </pc:sldMkLst>
      </pc:sldChg>
      <pc:sldChg chg="modNotesTx">
        <pc:chgData name="Pallavi Bothra" userId="f6f57c13-3a62-40cf-a90c-f5277fad9e73" providerId="ADAL" clId="{DB4DDA6F-E09D-4172-9A26-E38A154DDBA0}" dt="2024-01-22T11:58:54.557" v="1018" actId="6549"/>
        <pc:sldMkLst>
          <pc:docMk/>
          <pc:sldMk cId="2430686647" sldId="2147468901"/>
        </pc:sldMkLst>
      </pc:sldChg>
      <pc:sldChg chg="modNotesTx">
        <pc:chgData name="Pallavi Bothra" userId="f6f57c13-3a62-40cf-a90c-f5277fad9e73" providerId="ADAL" clId="{DB4DDA6F-E09D-4172-9A26-E38A154DDBA0}" dt="2024-01-22T11:58:57.463" v="1019" actId="6549"/>
        <pc:sldMkLst>
          <pc:docMk/>
          <pc:sldMk cId="1865348843" sldId="2147468902"/>
        </pc:sldMkLst>
      </pc:sldChg>
      <pc:sldChg chg="addSp delSp modSp mod modNotesTx">
        <pc:chgData name="Pallavi Bothra" userId="f6f57c13-3a62-40cf-a90c-f5277fad9e73" providerId="ADAL" clId="{DB4DDA6F-E09D-4172-9A26-E38A154DDBA0}" dt="2024-01-22T12:03:10.030" v="1064" actId="14100"/>
        <pc:sldMkLst>
          <pc:docMk/>
          <pc:sldMk cId="297166295" sldId="2147468903"/>
        </pc:sldMkLst>
        <pc:spChg chg="mod">
          <ac:chgData name="Pallavi Bothra" userId="f6f57c13-3a62-40cf-a90c-f5277fad9e73" providerId="ADAL" clId="{DB4DDA6F-E09D-4172-9A26-E38A154DDBA0}" dt="2024-01-22T12:03:10.030" v="1064" actId="14100"/>
          <ac:spMkLst>
            <pc:docMk/>
            <pc:sldMk cId="297166295" sldId="2147468903"/>
            <ac:spMk id="759" creationId="{3BADE806-97C4-C52D-6972-2F312E7D9938}"/>
          </ac:spMkLst>
        </pc:spChg>
        <pc:picChg chg="del">
          <ac:chgData name="Pallavi Bothra" userId="f6f57c13-3a62-40cf-a90c-f5277fad9e73" providerId="ADAL" clId="{DB4DDA6F-E09D-4172-9A26-E38A154DDBA0}" dt="2024-01-22T12:02:27.120" v="1060" actId="478"/>
          <ac:picMkLst>
            <pc:docMk/>
            <pc:sldMk cId="297166295" sldId="2147468903"/>
            <ac:picMk id="1026" creationId="{91BADC15-A1EF-DC06-C5EF-D39F1A22052A}"/>
          </ac:picMkLst>
        </pc:picChg>
        <pc:picChg chg="add mod">
          <ac:chgData name="Pallavi Bothra" userId="f6f57c13-3a62-40cf-a90c-f5277fad9e73" providerId="ADAL" clId="{DB4DDA6F-E09D-4172-9A26-E38A154DDBA0}" dt="2024-01-22T12:02:30.710" v="1061" actId="1076"/>
          <ac:picMkLst>
            <pc:docMk/>
            <pc:sldMk cId="297166295" sldId="2147468903"/>
            <ac:picMk id="14338" creationId="{02F9DEA1-4E6B-DC7E-23E5-8DA5E41A7FBE}"/>
          </ac:picMkLst>
        </pc:picChg>
      </pc:sldChg>
      <pc:sldChg chg="modNotesTx">
        <pc:chgData name="Pallavi Bothra" userId="f6f57c13-3a62-40cf-a90c-f5277fad9e73" providerId="ADAL" clId="{DB4DDA6F-E09D-4172-9A26-E38A154DDBA0}" dt="2024-01-22T11:59:05.299" v="1021" actId="6549"/>
        <pc:sldMkLst>
          <pc:docMk/>
          <pc:sldMk cId="3387325322" sldId="2147468904"/>
        </pc:sldMkLst>
      </pc:sldChg>
      <pc:sldChg chg="modNotesTx">
        <pc:chgData name="Pallavi Bothra" userId="f6f57c13-3a62-40cf-a90c-f5277fad9e73" providerId="ADAL" clId="{DB4DDA6F-E09D-4172-9A26-E38A154DDBA0}" dt="2024-01-22T11:59:09.427" v="1022" actId="6549"/>
        <pc:sldMkLst>
          <pc:docMk/>
          <pc:sldMk cId="561762982" sldId="2147468906"/>
        </pc:sldMkLst>
      </pc:sldChg>
      <pc:sldChg chg="modNotesTx">
        <pc:chgData name="Pallavi Bothra" userId="f6f57c13-3a62-40cf-a90c-f5277fad9e73" providerId="ADAL" clId="{DB4DDA6F-E09D-4172-9A26-E38A154DDBA0}" dt="2024-01-22T11:59:12.315" v="1023" actId="6549"/>
        <pc:sldMkLst>
          <pc:docMk/>
          <pc:sldMk cId="3422165939" sldId="2147468907"/>
        </pc:sldMkLst>
      </pc:sldChg>
      <pc:sldChg chg="modSp mod modNotesTx">
        <pc:chgData name="Pallavi Bothra" userId="f6f57c13-3a62-40cf-a90c-f5277fad9e73" providerId="ADAL" clId="{DB4DDA6F-E09D-4172-9A26-E38A154DDBA0}" dt="2024-01-22T12:13:05.451" v="1081" actId="6549"/>
        <pc:sldMkLst>
          <pc:docMk/>
          <pc:sldMk cId="1233801523" sldId="2147468908"/>
        </pc:sldMkLst>
        <pc:spChg chg="mod">
          <ac:chgData name="Pallavi Bothra" userId="f6f57c13-3a62-40cf-a90c-f5277fad9e73" providerId="ADAL" clId="{DB4DDA6F-E09D-4172-9A26-E38A154DDBA0}" dt="2024-01-22T12:13:05.451" v="1081" actId="6549"/>
          <ac:spMkLst>
            <pc:docMk/>
            <pc:sldMk cId="1233801523" sldId="2147468908"/>
            <ac:spMk id="3" creationId="{BFBEE7B6-F18E-690C-03CE-A539BE87A58D}"/>
          </ac:spMkLst>
        </pc:spChg>
      </pc:sldChg>
      <pc:sldChg chg="modSp mod modNotesTx">
        <pc:chgData name="Pallavi Bothra" userId="f6f57c13-3a62-40cf-a90c-f5277fad9e73" providerId="ADAL" clId="{DB4DDA6F-E09D-4172-9A26-E38A154DDBA0}" dt="2024-01-22T12:13:31.109" v="1090" actId="20577"/>
        <pc:sldMkLst>
          <pc:docMk/>
          <pc:sldMk cId="483594690" sldId="2147468909"/>
        </pc:sldMkLst>
        <pc:spChg chg="mod">
          <ac:chgData name="Pallavi Bothra" userId="f6f57c13-3a62-40cf-a90c-f5277fad9e73" providerId="ADAL" clId="{DB4DDA6F-E09D-4172-9A26-E38A154DDBA0}" dt="2024-01-22T12:13:31.109" v="1090" actId="20577"/>
          <ac:spMkLst>
            <pc:docMk/>
            <pc:sldMk cId="483594690" sldId="2147468909"/>
            <ac:spMk id="3" creationId="{A342148D-C436-A34A-713E-964220FAAE8F}"/>
          </ac:spMkLst>
        </pc:spChg>
      </pc:sldChg>
      <pc:sldChg chg="modNotesTx">
        <pc:chgData name="Pallavi Bothra" userId="f6f57c13-3a62-40cf-a90c-f5277fad9e73" providerId="ADAL" clId="{DB4DDA6F-E09D-4172-9A26-E38A154DDBA0}" dt="2024-01-22T12:00:52.125" v="1044" actId="6549"/>
        <pc:sldMkLst>
          <pc:docMk/>
          <pc:sldMk cId="1762615165" sldId="2147468910"/>
        </pc:sldMkLst>
      </pc:sldChg>
      <pc:sldChg chg="modSp mod modNotesTx">
        <pc:chgData name="Pallavi Bothra" userId="f6f57c13-3a62-40cf-a90c-f5277fad9e73" providerId="ADAL" clId="{DB4DDA6F-E09D-4172-9A26-E38A154DDBA0}" dt="2024-01-22T12:14:05.459" v="1097" actId="20577"/>
        <pc:sldMkLst>
          <pc:docMk/>
          <pc:sldMk cId="922186626" sldId="2147468911"/>
        </pc:sldMkLst>
        <pc:spChg chg="mod">
          <ac:chgData name="Pallavi Bothra" userId="f6f57c13-3a62-40cf-a90c-f5277fad9e73" providerId="ADAL" clId="{DB4DDA6F-E09D-4172-9A26-E38A154DDBA0}" dt="2024-01-22T12:14:05.459" v="1097" actId="20577"/>
          <ac:spMkLst>
            <pc:docMk/>
            <pc:sldMk cId="922186626" sldId="2147468911"/>
            <ac:spMk id="3" creationId="{91798663-FA40-5E74-C806-A6538A3E02AE}"/>
          </ac:spMkLst>
        </pc:spChg>
      </pc:sldChg>
      <pc:sldChg chg="modSp mod modNotesTx">
        <pc:chgData name="Pallavi Bothra" userId="f6f57c13-3a62-40cf-a90c-f5277fad9e73" providerId="ADAL" clId="{DB4DDA6F-E09D-4172-9A26-E38A154DDBA0}" dt="2024-01-22T12:14:23.471" v="1104" actId="20577"/>
        <pc:sldMkLst>
          <pc:docMk/>
          <pc:sldMk cId="1359332260" sldId="2147468912"/>
        </pc:sldMkLst>
        <pc:spChg chg="mod">
          <ac:chgData name="Pallavi Bothra" userId="f6f57c13-3a62-40cf-a90c-f5277fad9e73" providerId="ADAL" clId="{DB4DDA6F-E09D-4172-9A26-E38A154DDBA0}" dt="2024-01-22T12:14:23.471" v="1104" actId="20577"/>
          <ac:spMkLst>
            <pc:docMk/>
            <pc:sldMk cId="1359332260" sldId="2147468912"/>
            <ac:spMk id="12" creationId="{B94FDA27-D608-B108-DC48-CAE38703E901}"/>
          </ac:spMkLst>
        </pc:spChg>
      </pc:sldChg>
      <pc:sldChg chg="addSp delSp modSp mod modNotesTx">
        <pc:chgData name="Pallavi Bothra" userId="f6f57c13-3a62-40cf-a90c-f5277fad9e73" providerId="ADAL" clId="{DB4DDA6F-E09D-4172-9A26-E38A154DDBA0}" dt="2024-01-22T11:59:54.031" v="1028" actId="6549"/>
        <pc:sldMkLst>
          <pc:docMk/>
          <pc:sldMk cId="3675850705" sldId="2147468913"/>
        </pc:sldMkLst>
        <pc:spChg chg="add mod">
          <ac:chgData name="Pallavi Bothra" userId="f6f57c13-3a62-40cf-a90c-f5277fad9e73" providerId="ADAL" clId="{DB4DDA6F-E09D-4172-9A26-E38A154DDBA0}" dt="2024-01-22T11:57:14.529" v="1003" actId="1076"/>
          <ac:spMkLst>
            <pc:docMk/>
            <pc:sldMk cId="3675850705" sldId="2147468913"/>
            <ac:spMk id="15" creationId="{A1151290-72B1-A1A7-C178-1C07009D8563}"/>
          </ac:spMkLst>
        </pc:spChg>
        <pc:spChg chg="add mod">
          <ac:chgData name="Pallavi Bothra" userId="f6f57c13-3a62-40cf-a90c-f5277fad9e73" providerId="ADAL" clId="{DB4DDA6F-E09D-4172-9A26-E38A154DDBA0}" dt="2024-01-22T11:57:08.908" v="1001" actId="1076"/>
          <ac:spMkLst>
            <pc:docMk/>
            <pc:sldMk cId="3675850705" sldId="2147468913"/>
            <ac:spMk id="18" creationId="{CE812F4D-6668-0E93-B388-3CE6BC0343AF}"/>
          </ac:spMkLst>
        </pc:spChg>
        <pc:spChg chg="mod">
          <ac:chgData name="Pallavi Bothra" userId="f6f57c13-3a62-40cf-a90c-f5277fad9e73" providerId="ADAL" clId="{DB4DDA6F-E09D-4172-9A26-E38A154DDBA0}" dt="2024-01-22T11:56:57.693" v="999" actId="1076"/>
          <ac:spMkLst>
            <pc:docMk/>
            <pc:sldMk cId="3675850705" sldId="2147468913"/>
            <ac:spMk id="759" creationId="{3BADE806-97C4-C52D-6972-2F312E7D9938}"/>
          </ac:spMkLst>
        </pc:spChg>
        <pc:picChg chg="mod">
          <ac:chgData name="Pallavi Bothra" userId="f6f57c13-3a62-40cf-a90c-f5277fad9e73" providerId="ADAL" clId="{DB4DDA6F-E09D-4172-9A26-E38A154DDBA0}" dt="2024-01-22T11:56:50.436" v="997" actId="1076"/>
          <ac:picMkLst>
            <pc:docMk/>
            <pc:sldMk cId="3675850705" sldId="2147468913"/>
            <ac:picMk id="8" creationId="{F99651F3-9E8C-D8C3-1AE3-01E878D51D93}"/>
          </ac:picMkLst>
        </pc:picChg>
        <pc:picChg chg="add mod">
          <ac:chgData name="Pallavi Bothra" userId="f6f57c13-3a62-40cf-a90c-f5277fad9e73" providerId="ADAL" clId="{DB4DDA6F-E09D-4172-9A26-E38A154DDBA0}" dt="2024-01-22T11:56:02.071" v="978"/>
          <ac:picMkLst>
            <pc:docMk/>
            <pc:sldMk cId="3675850705" sldId="2147468913"/>
            <ac:picMk id="16" creationId="{20826BFE-0DC4-6634-2B7F-60E4BC4AF28E}"/>
          </ac:picMkLst>
        </pc:picChg>
        <pc:picChg chg="add mod">
          <ac:chgData name="Pallavi Bothra" userId="f6f57c13-3a62-40cf-a90c-f5277fad9e73" providerId="ADAL" clId="{DB4DDA6F-E09D-4172-9A26-E38A154DDBA0}" dt="2024-01-22T11:56:43.208" v="995"/>
          <ac:picMkLst>
            <pc:docMk/>
            <pc:sldMk cId="3675850705" sldId="2147468913"/>
            <ac:picMk id="17" creationId="{A7E0A131-F1D2-4252-4219-BC9B54EF5EEC}"/>
          </ac:picMkLst>
        </pc:picChg>
        <pc:picChg chg="del">
          <ac:chgData name="Pallavi Bothra" userId="f6f57c13-3a62-40cf-a90c-f5277fad9e73" providerId="ADAL" clId="{DB4DDA6F-E09D-4172-9A26-E38A154DDBA0}" dt="2024-01-22T11:55:59.589" v="977" actId="478"/>
          <ac:picMkLst>
            <pc:docMk/>
            <pc:sldMk cId="3675850705" sldId="2147468913"/>
            <ac:picMk id="1026" creationId="{91BADC15-A1EF-DC06-C5EF-D39F1A22052A}"/>
          </ac:picMkLst>
        </pc:picChg>
      </pc:sldChg>
      <pc:sldChg chg="modNotesTx">
        <pc:chgData name="Pallavi Bothra" userId="f6f57c13-3a62-40cf-a90c-f5277fad9e73" providerId="ADAL" clId="{DB4DDA6F-E09D-4172-9A26-E38A154DDBA0}" dt="2024-01-22T11:59:57.420" v="1029" actId="6549"/>
        <pc:sldMkLst>
          <pc:docMk/>
          <pc:sldMk cId="3039078538" sldId="2147468914"/>
        </pc:sldMkLst>
      </pc:sldChg>
      <pc:sldChg chg="modNotesTx">
        <pc:chgData name="Pallavi Bothra" userId="f6f57c13-3a62-40cf-a90c-f5277fad9e73" providerId="ADAL" clId="{DB4DDA6F-E09D-4172-9A26-E38A154DDBA0}" dt="2024-01-22T12:00:00.904" v="1030" actId="6549"/>
        <pc:sldMkLst>
          <pc:docMk/>
          <pc:sldMk cId="3506383749" sldId="2147468915"/>
        </pc:sldMkLst>
      </pc:sldChg>
      <pc:sldChg chg="modNotesTx">
        <pc:chgData name="Pallavi Bothra" userId="f6f57c13-3a62-40cf-a90c-f5277fad9e73" providerId="ADAL" clId="{DB4DDA6F-E09D-4172-9A26-E38A154DDBA0}" dt="2024-01-22T12:00:04.022" v="1031" actId="6549"/>
        <pc:sldMkLst>
          <pc:docMk/>
          <pc:sldMk cId="2396409888" sldId="2147468916"/>
        </pc:sldMkLst>
      </pc:sldChg>
      <pc:sldChg chg="modNotesTx">
        <pc:chgData name="Pallavi Bothra" userId="f6f57c13-3a62-40cf-a90c-f5277fad9e73" providerId="ADAL" clId="{DB4DDA6F-E09D-4172-9A26-E38A154DDBA0}" dt="2024-01-22T12:00:08.376" v="1032" actId="6549"/>
        <pc:sldMkLst>
          <pc:docMk/>
          <pc:sldMk cId="1346147750" sldId="2147468917"/>
        </pc:sldMkLst>
      </pc:sldChg>
      <pc:sldChg chg="modSp mod modNotesTx">
        <pc:chgData name="Pallavi Bothra" userId="f6f57c13-3a62-40cf-a90c-f5277fad9e73" providerId="ADAL" clId="{DB4DDA6F-E09D-4172-9A26-E38A154DDBA0}" dt="2024-01-22T12:14:32.285" v="1106" actId="20577"/>
        <pc:sldMkLst>
          <pc:docMk/>
          <pc:sldMk cId="3692133705" sldId="2147468918"/>
        </pc:sldMkLst>
        <pc:spChg chg="mod">
          <ac:chgData name="Pallavi Bothra" userId="f6f57c13-3a62-40cf-a90c-f5277fad9e73" providerId="ADAL" clId="{DB4DDA6F-E09D-4172-9A26-E38A154DDBA0}" dt="2024-01-22T12:14:32.285" v="1106" actId="20577"/>
          <ac:spMkLst>
            <pc:docMk/>
            <pc:sldMk cId="3692133705" sldId="2147468918"/>
            <ac:spMk id="3" creationId="{D759FD12-2F42-8AF2-E3E3-DE4DF3A951C0}"/>
          </ac:spMkLst>
        </pc:spChg>
      </pc:sldChg>
      <pc:sldChg chg="modNotesTx">
        <pc:chgData name="Pallavi Bothra" userId="f6f57c13-3a62-40cf-a90c-f5277fad9e73" providerId="ADAL" clId="{DB4DDA6F-E09D-4172-9A26-E38A154DDBA0}" dt="2024-01-22T12:00:15.541" v="1034" actId="6549"/>
        <pc:sldMkLst>
          <pc:docMk/>
          <pc:sldMk cId="2475083903" sldId="2147468919"/>
        </pc:sldMkLst>
      </pc:sldChg>
      <pc:sldChg chg="modNotesTx">
        <pc:chgData name="Pallavi Bothra" userId="f6f57c13-3a62-40cf-a90c-f5277fad9e73" providerId="ADAL" clId="{DB4DDA6F-E09D-4172-9A26-E38A154DDBA0}" dt="2024-01-22T12:00:19.973" v="1035" actId="6549"/>
        <pc:sldMkLst>
          <pc:docMk/>
          <pc:sldMk cId="3258180438" sldId="2147468922"/>
        </pc:sldMkLst>
      </pc:sldChg>
      <pc:sldChg chg="modNotesTx">
        <pc:chgData name="Pallavi Bothra" userId="f6f57c13-3a62-40cf-a90c-f5277fad9e73" providerId="ADAL" clId="{DB4DDA6F-E09D-4172-9A26-E38A154DDBA0}" dt="2024-01-22T12:00:24.672" v="1036" actId="6549"/>
        <pc:sldMkLst>
          <pc:docMk/>
          <pc:sldMk cId="1301018756" sldId="2147468924"/>
        </pc:sldMkLst>
      </pc:sldChg>
      <pc:sldChg chg="modNotesTx">
        <pc:chgData name="Pallavi Bothra" userId="f6f57c13-3a62-40cf-a90c-f5277fad9e73" providerId="ADAL" clId="{DB4DDA6F-E09D-4172-9A26-E38A154DDBA0}" dt="2024-01-22T12:00:28.150" v="1037" actId="6549"/>
        <pc:sldMkLst>
          <pc:docMk/>
          <pc:sldMk cId="3846103539" sldId="2147468925"/>
        </pc:sldMkLst>
      </pc:sldChg>
      <pc:sldChg chg="modNotesTx">
        <pc:chgData name="Pallavi Bothra" userId="f6f57c13-3a62-40cf-a90c-f5277fad9e73" providerId="ADAL" clId="{DB4DDA6F-E09D-4172-9A26-E38A154DDBA0}" dt="2024-01-22T12:00:33.014" v="1038" actId="6549"/>
        <pc:sldMkLst>
          <pc:docMk/>
          <pc:sldMk cId="3608563650" sldId="2147468926"/>
        </pc:sldMkLst>
      </pc:sldChg>
      <pc:sldChg chg="modNotesTx">
        <pc:chgData name="Pallavi Bothra" userId="f6f57c13-3a62-40cf-a90c-f5277fad9e73" providerId="ADAL" clId="{DB4DDA6F-E09D-4172-9A26-E38A154DDBA0}" dt="2024-01-22T12:00:35.973" v="1039" actId="6549"/>
        <pc:sldMkLst>
          <pc:docMk/>
          <pc:sldMk cId="3780769030" sldId="2147468927"/>
        </pc:sldMkLst>
      </pc:sldChg>
      <pc:sldChg chg="modNotesTx">
        <pc:chgData name="Pallavi Bothra" userId="f6f57c13-3a62-40cf-a90c-f5277fad9e73" providerId="ADAL" clId="{DB4DDA6F-E09D-4172-9A26-E38A154DDBA0}" dt="2024-01-22T12:00:38.513" v="1040" actId="6549"/>
        <pc:sldMkLst>
          <pc:docMk/>
          <pc:sldMk cId="627532096" sldId="2147468928"/>
        </pc:sldMkLst>
      </pc:sldChg>
      <pc:sldChg chg="modNotesTx">
        <pc:chgData name="Pallavi Bothra" userId="f6f57c13-3a62-40cf-a90c-f5277fad9e73" providerId="ADAL" clId="{DB4DDA6F-E09D-4172-9A26-E38A154DDBA0}" dt="2024-01-22T12:00:41.375" v="1041" actId="6549"/>
        <pc:sldMkLst>
          <pc:docMk/>
          <pc:sldMk cId="134162769" sldId="2147468929"/>
        </pc:sldMkLst>
      </pc:sldChg>
      <pc:sldChg chg="modNotesTx">
        <pc:chgData name="Pallavi Bothra" userId="f6f57c13-3a62-40cf-a90c-f5277fad9e73" providerId="ADAL" clId="{DB4DDA6F-E09D-4172-9A26-E38A154DDBA0}" dt="2024-01-22T12:00:43.915" v="1042" actId="6549"/>
        <pc:sldMkLst>
          <pc:docMk/>
          <pc:sldMk cId="149803073" sldId="2147468930"/>
        </pc:sldMkLst>
      </pc:sldChg>
      <pc:sldChg chg="modNotesTx">
        <pc:chgData name="Pallavi Bothra" userId="f6f57c13-3a62-40cf-a90c-f5277fad9e73" providerId="ADAL" clId="{DB4DDA6F-E09D-4172-9A26-E38A154DDBA0}" dt="2024-01-22T12:00:49.174" v="1043" actId="6549"/>
        <pc:sldMkLst>
          <pc:docMk/>
          <pc:sldMk cId="461031619" sldId="2147468932"/>
        </pc:sldMkLst>
      </pc:sldChg>
      <pc:sldChg chg="modNotesTx">
        <pc:chgData name="Pallavi Bothra" userId="f6f57c13-3a62-40cf-a90c-f5277fad9e73" providerId="ADAL" clId="{DB4DDA6F-E09D-4172-9A26-E38A154DDBA0}" dt="2024-01-22T12:00:55.039" v="1045" actId="6549"/>
        <pc:sldMkLst>
          <pc:docMk/>
          <pc:sldMk cId="825567547" sldId="2147468934"/>
        </pc:sldMkLst>
      </pc:sldChg>
      <pc:sldChg chg="modNotesTx">
        <pc:chgData name="Pallavi Bothra" userId="f6f57c13-3a62-40cf-a90c-f5277fad9e73" providerId="ADAL" clId="{DB4DDA6F-E09D-4172-9A26-E38A154DDBA0}" dt="2024-01-22T12:00:57.984" v="1046" actId="6549"/>
        <pc:sldMkLst>
          <pc:docMk/>
          <pc:sldMk cId="1728066137" sldId="2147468935"/>
        </pc:sldMkLst>
      </pc:sldChg>
      <pc:sldChg chg="modNotesTx">
        <pc:chgData name="Pallavi Bothra" userId="f6f57c13-3a62-40cf-a90c-f5277fad9e73" providerId="ADAL" clId="{DB4DDA6F-E09D-4172-9A26-E38A154DDBA0}" dt="2024-01-22T12:01:01.047" v="1047" actId="6549"/>
        <pc:sldMkLst>
          <pc:docMk/>
          <pc:sldMk cId="2474327518" sldId="2147468936"/>
        </pc:sldMkLst>
      </pc:sldChg>
      <pc:sldChg chg="modNotesTx">
        <pc:chgData name="Pallavi Bothra" userId="f6f57c13-3a62-40cf-a90c-f5277fad9e73" providerId="ADAL" clId="{DB4DDA6F-E09D-4172-9A26-E38A154DDBA0}" dt="2024-01-22T12:01:04.229" v="1048" actId="6549"/>
        <pc:sldMkLst>
          <pc:docMk/>
          <pc:sldMk cId="3474341664" sldId="2147468937"/>
        </pc:sldMkLst>
      </pc:sldChg>
      <pc:sldChg chg="modNotesTx">
        <pc:chgData name="Pallavi Bothra" userId="f6f57c13-3a62-40cf-a90c-f5277fad9e73" providerId="ADAL" clId="{DB4DDA6F-E09D-4172-9A26-E38A154DDBA0}" dt="2024-01-22T12:01:07.228" v="1049" actId="6549"/>
        <pc:sldMkLst>
          <pc:docMk/>
          <pc:sldMk cId="3828078974" sldId="2147468938"/>
        </pc:sldMkLst>
      </pc:sldChg>
      <pc:sldChg chg="modNotesTx">
        <pc:chgData name="Pallavi Bothra" userId="f6f57c13-3a62-40cf-a90c-f5277fad9e73" providerId="ADAL" clId="{DB4DDA6F-E09D-4172-9A26-E38A154DDBA0}" dt="2024-01-22T12:01:09.936" v="1050" actId="6549"/>
        <pc:sldMkLst>
          <pc:docMk/>
          <pc:sldMk cId="3965205132" sldId="2147468942"/>
        </pc:sldMkLst>
      </pc:sldChg>
      <pc:sldChg chg="modNotesTx">
        <pc:chgData name="Pallavi Bothra" userId="f6f57c13-3a62-40cf-a90c-f5277fad9e73" providerId="ADAL" clId="{DB4DDA6F-E09D-4172-9A26-E38A154DDBA0}" dt="2024-01-22T12:01:14.125" v="1051" actId="6549"/>
        <pc:sldMkLst>
          <pc:docMk/>
          <pc:sldMk cId="1633212887" sldId="2147468943"/>
        </pc:sldMkLst>
      </pc:sldChg>
      <pc:sldChg chg="modNotesTx">
        <pc:chgData name="Pallavi Bothra" userId="f6f57c13-3a62-40cf-a90c-f5277fad9e73" providerId="ADAL" clId="{DB4DDA6F-E09D-4172-9A26-E38A154DDBA0}" dt="2024-01-22T12:01:17.213" v="1052" actId="6549"/>
        <pc:sldMkLst>
          <pc:docMk/>
          <pc:sldMk cId="1326149201" sldId="2147468944"/>
        </pc:sldMkLst>
      </pc:sldChg>
      <pc:sldChg chg="modNotesTx">
        <pc:chgData name="Pallavi Bothra" userId="f6f57c13-3a62-40cf-a90c-f5277fad9e73" providerId="ADAL" clId="{DB4DDA6F-E09D-4172-9A26-E38A154DDBA0}" dt="2024-01-22T12:01:20.184" v="1053" actId="6549"/>
        <pc:sldMkLst>
          <pc:docMk/>
          <pc:sldMk cId="2146161583" sldId="2147468945"/>
        </pc:sldMkLst>
      </pc:sldChg>
      <pc:sldChg chg="modSp mod">
        <pc:chgData name="Pallavi Bothra" userId="f6f57c13-3a62-40cf-a90c-f5277fad9e73" providerId="ADAL" clId="{DB4DDA6F-E09D-4172-9A26-E38A154DDBA0}" dt="2024-01-22T12:15:30.647" v="1120" actId="20577"/>
        <pc:sldMkLst>
          <pc:docMk/>
          <pc:sldMk cId="4202194316" sldId="2147468950"/>
        </pc:sldMkLst>
        <pc:spChg chg="mod">
          <ac:chgData name="Pallavi Bothra" userId="f6f57c13-3a62-40cf-a90c-f5277fad9e73" providerId="ADAL" clId="{DB4DDA6F-E09D-4172-9A26-E38A154DDBA0}" dt="2024-01-22T12:15:30.647" v="1120" actId="20577"/>
          <ac:spMkLst>
            <pc:docMk/>
            <pc:sldMk cId="4202194316" sldId="2147468950"/>
            <ac:spMk id="3" creationId="{5AF84307-E076-74D9-1AE2-0C9EA082C5F9}"/>
          </ac:spMkLst>
        </pc:spChg>
      </pc:sldChg>
      <pc:sldChg chg="modSp mod">
        <pc:chgData name="Pallavi Bothra" userId="f6f57c13-3a62-40cf-a90c-f5277fad9e73" providerId="ADAL" clId="{DB4DDA6F-E09D-4172-9A26-E38A154DDBA0}" dt="2024-01-22T12:14:59.124" v="1113" actId="20577"/>
        <pc:sldMkLst>
          <pc:docMk/>
          <pc:sldMk cId="22498585" sldId="2147468961"/>
        </pc:sldMkLst>
        <pc:spChg chg="mod">
          <ac:chgData name="Pallavi Bothra" userId="f6f57c13-3a62-40cf-a90c-f5277fad9e73" providerId="ADAL" clId="{DB4DDA6F-E09D-4172-9A26-E38A154DDBA0}" dt="2024-01-22T12:14:59.124" v="1113" actId="20577"/>
          <ac:spMkLst>
            <pc:docMk/>
            <pc:sldMk cId="22498585" sldId="2147468961"/>
            <ac:spMk id="3" creationId="{BD2FAA12-C998-9AC5-3430-C8392CC58805}"/>
          </ac:spMkLst>
        </pc:spChg>
      </pc:sldChg>
      <pc:sldChg chg="addSp delSp modSp mod chgLayout">
        <pc:chgData name="Pallavi Bothra" userId="f6f57c13-3a62-40cf-a90c-f5277fad9e73" providerId="ADAL" clId="{DB4DDA6F-E09D-4172-9A26-E38A154DDBA0}" dt="2024-01-22T08:41:41.498" v="1" actId="700"/>
        <pc:sldMkLst>
          <pc:docMk/>
          <pc:sldMk cId="1097356561" sldId="2147468967"/>
        </pc:sldMkLst>
        <pc:spChg chg="add del mod ord">
          <ac:chgData name="Pallavi Bothra" userId="f6f57c13-3a62-40cf-a90c-f5277fad9e73" providerId="ADAL" clId="{DB4DDA6F-E09D-4172-9A26-E38A154DDBA0}" dt="2024-01-22T08:41:41.498" v="1" actId="700"/>
          <ac:spMkLst>
            <pc:docMk/>
            <pc:sldMk cId="1097356561" sldId="2147468967"/>
            <ac:spMk id="18" creationId="{44550163-CD68-809D-E30E-EDB95EAA80D5}"/>
          </ac:spMkLst>
        </pc:spChg>
        <pc:spChg chg="add del mod ord">
          <ac:chgData name="Pallavi Bothra" userId="f6f57c13-3a62-40cf-a90c-f5277fad9e73" providerId="ADAL" clId="{DB4DDA6F-E09D-4172-9A26-E38A154DDBA0}" dt="2024-01-22T08:41:41.498" v="1" actId="700"/>
          <ac:spMkLst>
            <pc:docMk/>
            <pc:sldMk cId="1097356561" sldId="2147468967"/>
            <ac:spMk id="19" creationId="{0D64AD21-A02A-803C-0B92-5F644832C132}"/>
          </ac:spMkLst>
        </pc:spChg>
      </pc:sldChg>
      <pc:sldChg chg="modSp new del mod">
        <pc:chgData name="Pallavi Bothra" userId="f6f57c13-3a62-40cf-a90c-f5277fad9e73" providerId="ADAL" clId="{DB4DDA6F-E09D-4172-9A26-E38A154DDBA0}" dt="2024-01-24T18:52:28.664" v="1190" actId="47"/>
        <pc:sldMkLst>
          <pc:docMk/>
          <pc:sldMk cId="2091509722" sldId="2147468980"/>
        </pc:sldMkLst>
        <pc:spChg chg="mod">
          <ac:chgData name="Pallavi Bothra" userId="f6f57c13-3a62-40cf-a90c-f5277fad9e73" providerId="ADAL" clId="{DB4DDA6F-E09D-4172-9A26-E38A154DDBA0}" dt="2024-01-23T05:30:30.783" v="1142" actId="20577"/>
          <ac:spMkLst>
            <pc:docMk/>
            <pc:sldMk cId="2091509722" sldId="2147468980"/>
            <ac:spMk id="2" creationId="{DBD70CCC-3060-2E9E-0764-A79B64E16C04}"/>
          </ac:spMkLst>
        </pc:spChg>
      </pc:sldChg>
      <pc:sldChg chg="addSp delSp modSp add mod">
        <pc:chgData name="Pallavi Bothra" userId="f6f57c13-3a62-40cf-a90c-f5277fad9e73" providerId="ADAL" clId="{DB4DDA6F-E09D-4172-9A26-E38A154DDBA0}" dt="2024-01-22T10:56:48.403" v="858" actId="313"/>
        <pc:sldMkLst>
          <pc:docMk/>
          <pc:sldMk cId="3088185277" sldId="2147468981"/>
        </pc:sldMkLst>
        <pc:spChg chg="mod">
          <ac:chgData name="Pallavi Bothra" userId="f6f57c13-3a62-40cf-a90c-f5277fad9e73" providerId="ADAL" clId="{DB4DDA6F-E09D-4172-9A26-E38A154DDBA0}" dt="2024-01-22T09:09:47.415" v="65" actId="6549"/>
          <ac:spMkLst>
            <pc:docMk/>
            <pc:sldMk cId="3088185277" sldId="2147468981"/>
            <ac:spMk id="3" creationId="{7F305365-29CA-C7B5-6E3F-210DC60ACF6E}"/>
          </ac:spMkLst>
        </pc:spChg>
        <pc:spChg chg="mod">
          <ac:chgData name="Pallavi Bothra" userId="f6f57c13-3a62-40cf-a90c-f5277fad9e73" providerId="ADAL" clId="{DB4DDA6F-E09D-4172-9A26-E38A154DDBA0}" dt="2024-01-22T08:45:00.806" v="22"/>
          <ac:spMkLst>
            <pc:docMk/>
            <pc:sldMk cId="3088185277" sldId="2147468981"/>
            <ac:spMk id="5" creationId="{A8C94439-AB1F-C277-A8E0-41468A768E62}"/>
          </ac:spMkLst>
        </pc:spChg>
        <pc:spChg chg="mod">
          <ac:chgData name="Pallavi Bothra" userId="f6f57c13-3a62-40cf-a90c-f5277fad9e73" providerId="ADAL" clId="{DB4DDA6F-E09D-4172-9A26-E38A154DDBA0}" dt="2024-01-22T08:45:09.614" v="28" actId="20577"/>
          <ac:spMkLst>
            <pc:docMk/>
            <pc:sldMk cId="3088185277" sldId="2147468981"/>
            <ac:spMk id="9" creationId="{655A6175-6E74-01BE-C97E-280A846753DD}"/>
          </ac:spMkLst>
        </pc:spChg>
        <pc:spChg chg="mod">
          <ac:chgData name="Pallavi Bothra" userId="f6f57c13-3a62-40cf-a90c-f5277fad9e73" providerId="ADAL" clId="{DB4DDA6F-E09D-4172-9A26-E38A154DDBA0}" dt="2024-01-22T08:45:14.437" v="31" actId="20577"/>
          <ac:spMkLst>
            <pc:docMk/>
            <pc:sldMk cId="3088185277" sldId="2147468981"/>
            <ac:spMk id="11" creationId="{707C5A75-ED52-D606-7AC4-959202D8012F}"/>
          </ac:spMkLst>
        </pc:spChg>
        <pc:spChg chg="mod">
          <ac:chgData name="Pallavi Bothra" userId="f6f57c13-3a62-40cf-a90c-f5277fad9e73" providerId="ADAL" clId="{DB4DDA6F-E09D-4172-9A26-E38A154DDBA0}" dt="2024-01-22T08:45:36.516" v="32"/>
          <ac:spMkLst>
            <pc:docMk/>
            <pc:sldMk cId="3088185277" sldId="2147468981"/>
            <ac:spMk id="13" creationId="{A55D2298-5195-C0E4-B136-A0B1A68F1344}"/>
          </ac:spMkLst>
        </pc:spChg>
        <pc:spChg chg="del">
          <ac:chgData name="Pallavi Bothra" userId="f6f57c13-3a62-40cf-a90c-f5277fad9e73" providerId="ADAL" clId="{DB4DDA6F-E09D-4172-9A26-E38A154DDBA0}" dt="2024-01-22T09:11:42.728" v="71" actId="478"/>
          <ac:spMkLst>
            <pc:docMk/>
            <pc:sldMk cId="3088185277" sldId="2147468981"/>
            <ac:spMk id="14" creationId="{11FF11EB-0FD2-9955-00C0-D7A6853BFED7}"/>
          </ac:spMkLst>
        </pc:spChg>
        <pc:spChg chg="mod">
          <ac:chgData name="Pallavi Bothra" userId="f6f57c13-3a62-40cf-a90c-f5277fad9e73" providerId="ADAL" clId="{DB4DDA6F-E09D-4172-9A26-E38A154DDBA0}" dt="2024-01-22T10:56:48.403" v="858" actId="313"/>
          <ac:spMkLst>
            <pc:docMk/>
            <pc:sldMk cId="3088185277" sldId="2147468981"/>
            <ac:spMk id="16" creationId="{60AFD7A3-3381-BC80-1030-669AFE6D746E}"/>
          </ac:spMkLst>
        </pc:spChg>
        <pc:spChg chg="mod">
          <ac:chgData name="Pallavi Bothra" userId="f6f57c13-3a62-40cf-a90c-f5277fad9e73" providerId="ADAL" clId="{DB4DDA6F-E09D-4172-9A26-E38A154DDBA0}" dt="2024-01-22T09:10:03.795" v="69" actId="6549"/>
          <ac:spMkLst>
            <pc:docMk/>
            <pc:sldMk cId="3088185277" sldId="2147468981"/>
            <ac:spMk id="17" creationId="{9485B9F8-9806-D2FC-8CAF-164905405243}"/>
          </ac:spMkLst>
        </pc:spChg>
        <pc:spChg chg="add mod">
          <ac:chgData name="Pallavi Bothra" userId="f6f57c13-3a62-40cf-a90c-f5277fad9e73" providerId="ADAL" clId="{DB4DDA6F-E09D-4172-9A26-E38A154DDBA0}" dt="2024-01-22T09:11:43.944" v="72"/>
          <ac:spMkLst>
            <pc:docMk/>
            <pc:sldMk cId="3088185277" sldId="2147468981"/>
            <ac:spMk id="19" creationId="{908584C9-8053-BAF4-2837-F31222763A77}"/>
          </ac:spMkLst>
        </pc:spChg>
        <pc:spChg chg="add mod">
          <ac:chgData name="Pallavi Bothra" userId="f6f57c13-3a62-40cf-a90c-f5277fad9e73" providerId="ADAL" clId="{DB4DDA6F-E09D-4172-9A26-E38A154DDBA0}" dt="2024-01-22T09:12:18.565" v="74"/>
          <ac:spMkLst>
            <pc:docMk/>
            <pc:sldMk cId="3088185277" sldId="2147468981"/>
            <ac:spMk id="20" creationId="{8BC02F85-542C-62AC-AE9B-960CD2FC3FDC}"/>
          </ac:spMkLst>
        </pc:spChg>
        <pc:spChg chg="mod">
          <ac:chgData name="Pallavi Bothra" userId="f6f57c13-3a62-40cf-a90c-f5277fad9e73" providerId="ADAL" clId="{DB4DDA6F-E09D-4172-9A26-E38A154DDBA0}" dt="2024-01-22T09:19:10.246" v="85" actId="404"/>
          <ac:spMkLst>
            <pc:docMk/>
            <pc:sldMk cId="3088185277" sldId="2147468981"/>
            <ac:spMk id="742" creationId="{C45ED160-274D-7D5D-6A82-81870E69F4BD}"/>
          </ac:spMkLst>
        </pc:spChg>
        <pc:spChg chg="mod">
          <ac:chgData name="Pallavi Bothra" userId="f6f57c13-3a62-40cf-a90c-f5277fad9e73" providerId="ADAL" clId="{DB4DDA6F-E09D-4172-9A26-E38A154DDBA0}" dt="2024-01-22T09:14:09.005" v="76" actId="20577"/>
          <ac:spMkLst>
            <pc:docMk/>
            <pc:sldMk cId="3088185277" sldId="2147468981"/>
            <ac:spMk id="747" creationId="{42314759-16C9-2A2E-4382-7C21536611C2}"/>
          </ac:spMkLst>
        </pc:spChg>
        <pc:spChg chg="mod">
          <ac:chgData name="Pallavi Bothra" userId="f6f57c13-3a62-40cf-a90c-f5277fad9e73" providerId="ADAL" clId="{DB4DDA6F-E09D-4172-9A26-E38A154DDBA0}" dt="2024-01-22T08:46:09.378" v="35"/>
          <ac:spMkLst>
            <pc:docMk/>
            <pc:sldMk cId="3088185277" sldId="2147468981"/>
            <ac:spMk id="748" creationId="{52A172F7-40D3-395B-CCC6-FDB8624B34C3}"/>
          </ac:spMkLst>
        </pc:spChg>
        <pc:spChg chg="mod">
          <ac:chgData name="Pallavi Bothra" userId="f6f57c13-3a62-40cf-a90c-f5277fad9e73" providerId="ADAL" clId="{DB4DDA6F-E09D-4172-9A26-E38A154DDBA0}" dt="2024-01-22T09:09:16.457" v="62" actId="20577"/>
          <ac:spMkLst>
            <pc:docMk/>
            <pc:sldMk cId="3088185277" sldId="2147468981"/>
            <ac:spMk id="749" creationId="{A50E6FED-D952-EBCF-AAC5-BD6B2EFDC8C8}"/>
          </ac:spMkLst>
        </pc:spChg>
        <pc:spChg chg="mod">
          <ac:chgData name="Pallavi Bothra" userId="f6f57c13-3a62-40cf-a90c-f5277fad9e73" providerId="ADAL" clId="{DB4DDA6F-E09D-4172-9A26-E38A154DDBA0}" dt="2024-01-22T08:44:23.322" v="20"/>
          <ac:spMkLst>
            <pc:docMk/>
            <pc:sldMk cId="3088185277" sldId="2147468981"/>
            <ac:spMk id="755" creationId="{2C81BA28-BF01-1AFB-6F1B-C3A82383E1EE}"/>
          </ac:spMkLst>
        </pc:spChg>
        <pc:spChg chg="del">
          <ac:chgData name="Pallavi Bothra" userId="f6f57c13-3a62-40cf-a90c-f5277fad9e73" providerId="ADAL" clId="{DB4DDA6F-E09D-4172-9A26-E38A154DDBA0}" dt="2024-01-22T09:12:17.883" v="73" actId="478"/>
          <ac:spMkLst>
            <pc:docMk/>
            <pc:sldMk cId="3088185277" sldId="2147468981"/>
            <ac:spMk id="759" creationId="{3BADE806-97C4-C52D-6972-2F312E7D9938}"/>
          </ac:spMkLst>
        </pc:spChg>
        <pc:picChg chg="del">
          <ac:chgData name="Pallavi Bothra" userId="f6f57c13-3a62-40cf-a90c-f5277fad9e73" providerId="ADAL" clId="{DB4DDA6F-E09D-4172-9A26-E38A154DDBA0}" dt="2024-01-22T09:11:39.474" v="70" actId="478"/>
          <ac:picMkLst>
            <pc:docMk/>
            <pc:sldMk cId="3088185277" sldId="2147468981"/>
            <ac:picMk id="8" creationId="{1008F750-D165-D59A-65D9-B29965AC43C0}"/>
          </ac:picMkLst>
        </pc:picChg>
        <pc:picChg chg="del">
          <ac:chgData name="Pallavi Bothra" userId="f6f57c13-3a62-40cf-a90c-f5277fad9e73" providerId="ADAL" clId="{DB4DDA6F-E09D-4172-9A26-E38A154DDBA0}" dt="2024-01-22T09:12:17.883" v="73" actId="478"/>
          <ac:picMkLst>
            <pc:docMk/>
            <pc:sldMk cId="3088185277" sldId="2147468981"/>
            <ac:picMk id="12" creationId="{9D9D5A90-A68E-DFAE-DCE7-2BFB295D0EEC}"/>
          </ac:picMkLst>
        </pc:picChg>
        <pc:picChg chg="add mod">
          <ac:chgData name="Pallavi Bothra" userId="f6f57c13-3a62-40cf-a90c-f5277fad9e73" providerId="ADAL" clId="{DB4DDA6F-E09D-4172-9A26-E38A154DDBA0}" dt="2024-01-22T09:11:43.944" v="72"/>
          <ac:picMkLst>
            <pc:docMk/>
            <pc:sldMk cId="3088185277" sldId="2147468981"/>
            <ac:picMk id="18" creationId="{390A0B34-73DA-A08E-28FC-FD7F881CDA39}"/>
          </ac:picMkLst>
        </pc:picChg>
        <pc:picChg chg="add mod">
          <ac:chgData name="Pallavi Bothra" userId="f6f57c13-3a62-40cf-a90c-f5277fad9e73" providerId="ADAL" clId="{DB4DDA6F-E09D-4172-9A26-E38A154DDBA0}" dt="2024-01-22T09:12:18.565" v="74"/>
          <ac:picMkLst>
            <pc:docMk/>
            <pc:sldMk cId="3088185277" sldId="2147468981"/>
            <ac:picMk id="21" creationId="{281F5FD2-C0D9-55BD-0369-5E087C3AB227}"/>
          </ac:picMkLst>
        </pc:picChg>
      </pc:sldChg>
      <pc:sldChg chg="modSp add mod">
        <pc:chgData name="Pallavi Bothra" userId="f6f57c13-3a62-40cf-a90c-f5277fad9e73" providerId="ADAL" clId="{DB4DDA6F-E09D-4172-9A26-E38A154DDBA0}" dt="2024-01-22T09:27:57.429" v="144" actId="20577"/>
        <pc:sldMkLst>
          <pc:docMk/>
          <pc:sldMk cId="1169332722" sldId="2147468982"/>
        </pc:sldMkLst>
        <pc:spChg chg="mod">
          <ac:chgData name="Pallavi Bothra" userId="f6f57c13-3a62-40cf-a90c-f5277fad9e73" providerId="ADAL" clId="{DB4DDA6F-E09D-4172-9A26-E38A154DDBA0}" dt="2024-01-22T09:20:28.651" v="96"/>
          <ac:spMkLst>
            <pc:docMk/>
            <pc:sldMk cId="1169332722" sldId="2147468982"/>
            <ac:spMk id="13" creationId="{A55D2298-5195-C0E4-B136-A0B1A68F1344}"/>
          </ac:spMkLst>
        </pc:spChg>
        <pc:spChg chg="mod">
          <ac:chgData name="Pallavi Bothra" userId="f6f57c13-3a62-40cf-a90c-f5277fad9e73" providerId="ADAL" clId="{DB4DDA6F-E09D-4172-9A26-E38A154DDBA0}" dt="2024-01-22T09:19:43.489" v="90" actId="14100"/>
          <ac:spMkLst>
            <pc:docMk/>
            <pc:sldMk cId="1169332722" sldId="2147468982"/>
            <ac:spMk id="16" creationId="{60AFD7A3-3381-BC80-1030-669AFE6D746E}"/>
          </ac:spMkLst>
        </pc:spChg>
        <pc:spChg chg="mod">
          <ac:chgData name="Pallavi Bothra" userId="f6f57c13-3a62-40cf-a90c-f5277fad9e73" providerId="ADAL" clId="{DB4DDA6F-E09D-4172-9A26-E38A154DDBA0}" dt="2024-01-22T09:27:57.429" v="144" actId="20577"/>
          <ac:spMkLst>
            <pc:docMk/>
            <pc:sldMk cId="1169332722" sldId="2147468982"/>
            <ac:spMk id="17" creationId="{9485B9F8-9806-D2FC-8CAF-164905405243}"/>
          </ac:spMkLst>
        </pc:spChg>
        <pc:spChg chg="mod">
          <ac:chgData name="Pallavi Bothra" userId="f6f57c13-3a62-40cf-a90c-f5277fad9e73" providerId="ADAL" clId="{DB4DDA6F-E09D-4172-9A26-E38A154DDBA0}" dt="2024-01-22T09:19:27.681" v="88"/>
          <ac:spMkLst>
            <pc:docMk/>
            <pc:sldMk cId="1169332722" sldId="2147468982"/>
            <ac:spMk id="742" creationId="{C45ED160-274D-7D5D-6A82-81870E69F4BD}"/>
          </ac:spMkLst>
        </pc:spChg>
        <pc:spChg chg="mod">
          <ac:chgData name="Pallavi Bothra" userId="f6f57c13-3a62-40cf-a90c-f5277fad9e73" providerId="ADAL" clId="{DB4DDA6F-E09D-4172-9A26-E38A154DDBA0}" dt="2024-01-22T09:20:13.405" v="94" actId="255"/>
          <ac:spMkLst>
            <pc:docMk/>
            <pc:sldMk cId="1169332722" sldId="2147468982"/>
            <ac:spMk id="747" creationId="{42314759-16C9-2A2E-4382-7C21536611C2}"/>
          </ac:spMkLst>
        </pc:spChg>
        <pc:spChg chg="mod">
          <ac:chgData name="Pallavi Bothra" userId="f6f57c13-3a62-40cf-a90c-f5277fad9e73" providerId="ADAL" clId="{DB4DDA6F-E09D-4172-9A26-E38A154DDBA0}" dt="2024-01-22T09:20:20.208" v="95"/>
          <ac:spMkLst>
            <pc:docMk/>
            <pc:sldMk cId="1169332722" sldId="2147468982"/>
            <ac:spMk id="748" creationId="{52A172F7-40D3-395B-CCC6-FDB8624B34C3}"/>
          </ac:spMkLst>
        </pc:spChg>
        <pc:spChg chg="mod">
          <ac:chgData name="Pallavi Bothra" userId="f6f57c13-3a62-40cf-a90c-f5277fad9e73" providerId="ADAL" clId="{DB4DDA6F-E09D-4172-9A26-E38A154DDBA0}" dt="2024-01-22T09:20:37.008" v="97"/>
          <ac:spMkLst>
            <pc:docMk/>
            <pc:sldMk cId="1169332722" sldId="2147468982"/>
            <ac:spMk id="749" creationId="{A50E6FED-D952-EBCF-AAC5-BD6B2EFDC8C8}"/>
          </ac:spMkLst>
        </pc:spChg>
      </pc:sldChg>
      <pc:sldChg chg="add del">
        <pc:chgData name="Pallavi Bothra" userId="f6f57c13-3a62-40cf-a90c-f5277fad9e73" providerId="ADAL" clId="{DB4DDA6F-E09D-4172-9A26-E38A154DDBA0}" dt="2024-01-22T09:18:15.108" v="77" actId="47"/>
        <pc:sldMkLst>
          <pc:docMk/>
          <pc:sldMk cId="3022622466" sldId="2147468982"/>
        </pc:sldMkLst>
      </pc:sldChg>
      <pc:sldChg chg="modSp add mod">
        <pc:chgData name="Pallavi Bothra" userId="f6f57c13-3a62-40cf-a90c-f5277fad9e73" providerId="ADAL" clId="{DB4DDA6F-E09D-4172-9A26-E38A154DDBA0}" dt="2024-01-22T09:28:02.479" v="146" actId="20577"/>
        <pc:sldMkLst>
          <pc:docMk/>
          <pc:sldMk cId="1520435373" sldId="2147468983"/>
        </pc:sldMkLst>
        <pc:spChg chg="mod">
          <ac:chgData name="Pallavi Bothra" userId="f6f57c13-3a62-40cf-a90c-f5277fad9e73" providerId="ADAL" clId="{DB4DDA6F-E09D-4172-9A26-E38A154DDBA0}" dt="2024-01-22T09:22:14.764" v="103"/>
          <ac:spMkLst>
            <pc:docMk/>
            <pc:sldMk cId="1520435373" sldId="2147468983"/>
            <ac:spMk id="13" creationId="{A55D2298-5195-C0E4-B136-A0B1A68F1344}"/>
          </ac:spMkLst>
        </pc:spChg>
        <pc:spChg chg="mod">
          <ac:chgData name="Pallavi Bothra" userId="f6f57c13-3a62-40cf-a90c-f5277fad9e73" providerId="ADAL" clId="{DB4DDA6F-E09D-4172-9A26-E38A154DDBA0}" dt="2024-01-22T09:23:05.087" v="108" actId="14100"/>
          <ac:spMkLst>
            <pc:docMk/>
            <pc:sldMk cId="1520435373" sldId="2147468983"/>
            <ac:spMk id="16" creationId="{60AFD7A3-3381-BC80-1030-669AFE6D746E}"/>
          </ac:spMkLst>
        </pc:spChg>
        <pc:spChg chg="mod">
          <ac:chgData name="Pallavi Bothra" userId="f6f57c13-3a62-40cf-a90c-f5277fad9e73" providerId="ADAL" clId="{DB4DDA6F-E09D-4172-9A26-E38A154DDBA0}" dt="2024-01-22T09:28:02.479" v="146" actId="20577"/>
          <ac:spMkLst>
            <pc:docMk/>
            <pc:sldMk cId="1520435373" sldId="2147468983"/>
            <ac:spMk id="17" creationId="{9485B9F8-9806-D2FC-8CAF-164905405243}"/>
          </ac:spMkLst>
        </pc:spChg>
        <pc:spChg chg="mod">
          <ac:chgData name="Pallavi Bothra" userId="f6f57c13-3a62-40cf-a90c-f5277fad9e73" providerId="ADAL" clId="{DB4DDA6F-E09D-4172-9A26-E38A154DDBA0}" dt="2024-01-22T09:23:30.553" v="111" actId="255"/>
          <ac:spMkLst>
            <pc:docMk/>
            <pc:sldMk cId="1520435373" sldId="2147468983"/>
            <ac:spMk id="742" creationId="{C45ED160-274D-7D5D-6A82-81870E69F4BD}"/>
          </ac:spMkLst>
        </pc:spChg>
        <pc:spChg chg="mod">
          <ac:chgData name="Pallavi Bothra" userId="f6f57c13-3a62-40cf-a90c-f5277fad9e73" providerId="ADAL" clId="{DB4DDA6F-E09D-4172-9A26-E38A154DDBA0}" dt="2024-01-22T09:22:42.618" v="106"/>
          <ac:spMkLst>
            <pc:docMk/>
            <pc:sldMk cId="1520435373" sldId="2147468983"/>
            <ac:spMk id="747" creationId="{42314759-16C9-2A2E-4382-7C21536611C2}"/>
          </ac:spMkLst>
        </pc:spChg>
        <pc:spChg chg="mod">
          <ac:chgData name="Pallavi Bothra" userId="f6f57c13-3a62-40cf-a90c-f5277fad9e73" providerId="ADAL" clId="{DB4DDA6F-E09D-4172-9A26-E38A154DDBA0}" dt="2024-01-22T09:22:23.244" v="104"/>
          <ac:spMkLst>
            <pc:docMk/>
            <pc:sldMk cId="1520435373" sldId="2147468983"/>
            <ac:spMk id="748" creationId="{52A172F7-40D3-395B-CCC6-FDB8624B34C3}"/>
          </ac:spMkLst>
        </pc:spChg>
        <pc:spChg chg="mod">
          <ac:chgData name="Pallavi Bothra" userId="f6f57c13-3a62-40cf-a90c-f5277fad9e73" providerId="ADAL" clId="{DB4DDA6F-E09D-4172-9A26-E38A154DDBA0}" dt="2024-01-22T09:22:06.388" v="102" actId="255"/>
          <ac:spMkLst>
            <pc:docMk/>
            <pc:sldMk cId="1520435373" sldId="2147468983"/>
            <ac:spMk id="749" creationId="{A50E6FED-D952-EBCF-AAC5-BD6B2EFDC8C8}"/>
          </ac:spMkLst>
        </pc:spChg>
      </pc:sldChg>
      <pc:sldChg chg="add del">
        <pc:chgData name="Pallavi Bothra" userId="f6f57c13-3a62-40cf-a90c-f5277fad9e73" providerId="ADAL" clId="{DB4DDA6F-E09D-4172-9A26-E38A154DDBA0}" dt="2024-01-22T09:19:17.707" v="86" actId="47"/>
        <pc:sldMkLst>
          <pc:docMk/>
          <pc:sldMk cId="3478999257" sldId="2147468983"/>
        </pc:sldMkLst>
      </pc:sldChg>
      <pc:sldChg chg="modSp add del mod">
        <pc:chgData name="Pallavi Bothra" userId="f6f57c13-3a62-40cf-a90c-f5277fad9e73" providerId="ADAL" clId="{DB4DDA6F-E09D-4172-9A26-E38A154DDBA0}" dt="2024-01-22T09:34:16.807" v="232" actId="47"/>
        <pc:sldMkLst>
          <pc:docMk/>
          <pc:sldMk cId="1768728104" sldId="2147468984"/>
        </pc:sldMkLst>
        <pc:spChg chg="mod">
          <ac:chgData name="Pallavi Bothra" userId="f6f57c13-3a62-40cf-a90c-f5277fad9e73" providerId="ADAL" clId="{DB4DDA6F-E09D-4172-9A26-E38A154DDBA0}" dt="2024-01-22T09:25:21.529" v="123"/>
          <ac:spMkLst>
            <pc:docMk/>
            <pc:sldMk cId="1768728104" sldId="2147468984"/>
            <ac:spMk id="5" creationId="{A8C94439-AB1F-C277-A8E0-41468A768E62}"/>
          </ac:spMkLst>
        </pc:spChg>
        <pc:spChg chg="mod">
          <ac:chgData name="Pallavi Bothra" userId="f6f57c13-3a62-40cf-a90c-f5277fad9e73" providerId="ADAL" clId="{DB4DDA6F-E09D-4172-9A26-E38A154DDBA0}" dt="2024-01-22T09:25:36.901" v="135" actId="20577"/>
          <ac:spMkLst>
            <pc:docMk/>
            <pc:sldMk cId="1768728104" sldId="2147468984"/>
            <ac:spMk id="9" creationId="{655A6175-6E74-01BE-C97E-280A846753DD}"/>
          </ac:spMkLst>
        </pc:spChg>
        <pc:spChg chg="mod">
          <ac:chgData name="Pallavi Bothra" userId="f6f57c13-3a62-40cf-a90c-f5277fad9e73" providerId="ADAL" clId="{DB4DDA6F-E09D-4172-9A26-E38A154DDBA0}" dt="2024-01-22T09:25:30.120" v="129" actId="20577"/>
          <ac:spMkLst>
            <pc:docMk/>
            <pc:sldMk cId="1768728104" sldId="2147468984"/>
            <ac:spMk id="11" creationId="{707C5A75-ED52-D606-7AC4-959202D8012F}"/>
          </ac:spMkLst>
        </pc:spChg>
        <pc:spChg chg="mod">
          <ac:chgData name="Pallavi Bothra" userId="f6f57c13-3a62-40cf-a90c-f5277fad9e73" providerId="ADAL" clId="{DB4DDA6F-E09D-4172-9A26-E38A154DDBA0}" dt="2024-01-22T09:26:03.611" v="139"/>
          <ac:spMkLst>
            <pc:docMk/>
            <pc:sldMk cId="1768728104" sldId="2147468984"/>
            <ac:spMk id="13" creationId="{A55D2298-5195-C0E4-B136-A0B1A68F1344}"/>
          </ac:spMkLst>
        </pc:spChg>
        <pc:spChg chg="mod">
          <ac:chgData name="Pallavi Bothra" userId="f6f57c13-3a62-40cf-a90c-f5277fad9e73" providerId="ADAL" clId="{DB4DDA6F-E09D-4172-9A26-E38A154DDBA0}" dt="2024-01-22T09:24:50.274" v="119"/>
          <ac:spMkLst>
            <pc:docMk/>
            <pc:sldMk cId="1768728104" sldId="2147468984"/>
            <ac:spMk id="16" creationId="{60AFD7A3-3381-BC80-1030-669AFE6D746E}"/>
          </ac:spMkLst>
        </pc:spChg>
        <pc:spChg chg="mod">
          <ac:chgData name="Pallavi Bothra" userId="f6f57c13-3a62-40cf-a90c-f5277fad9e73" providerId="ADAL" clId="{DB4DDA6F-E09D-4172-9A26-E38A154DDBA0}" dt="2024-01-22T09:24:26.155" v="115"/>
          <ac:spMkLst>
            <pc:docMk/>
            <pc:sldMk cId="1768728104" sldId="2147468984"/>
            <ac:spMk id="19" creationId="{908584C9-8053-BAF4-2837-F31222763A77}"/>
          </ac:spMkLst>
        </pc:spChg>
        <pc:spChg chg="mod">
          <ac:chgData name="Pallavi Bothra" userId="f6f57c13-3a62-40cf-a90c-f5277fad9e73" providerId="ADAL" clId="{DB4DDA6F-E09D-4172-9A26-E38A154DDBA0}" dt="2024-01-22T09:25:10.360" v="122" actId="14100"/>
          <ac:spMkLst>
            <pc:docMk/>
            <pc:sldMk cId="1768728104" sldId="2147468984"/>
            <ac:spMk id="20" creationId="{8BC02F85-542C-62AC-AE9B-960CD2FC3FDC}"/>
          </ac:spMkLst>
        </pc:spChg>
        <pc:spChg chg="mod">
          <ac:chgData name="Pallavi Bothra" userId="f6f57c13-3a62-40cf-a90c-f5277fad9e73" providerId="ADAL" clId="{DB4DDA6F-E09D-4172-9A26-E38A154DDBA0}" dt="2024-01-22T09:24:35.168" v="117" actId="403"/>
          <ac:spMkLst>
            <pc:docMk/>
            <pc:sldMk cId="1768728104" sldId="2147468984"/>
            <ac:spMk id="742" creationId="{C45ED160-274D-7D5D-6A82-81870E69F4BD}"/>
          </ac:spMkLst>
        </pc:spChg>
        <pc:spChg chg="mod">
          <ac:chgData name="Pallavi Bothra" userId="f6f57c13-3a62-40cf-a90c-f5277fad9e73" providerId="ADAL" clId="{DB4DDA6F-E09D-4172-9A26-E38A154DDBA0}" dt="2024-01-22T09:25:55.479" v="138" actId="403"/>
          <ac:spMkLst>
            <pc:docMk/>
            <pc:sldMk cId="1768728104" sldId="2147468984"/>
            <ac:spMk id="747" creationId="{42314759-16C9-2A2E-4382-7C21536611C2}"/>
          </ac:spMkLst>
        </pc:spChg>
        <pc:spChg chg="mod">
          <ac:chgData name="Pallavi Bothra" userId="f6f57c13-3a62-40cf-a90c-f5277fad9e73" providerId="ADAL" clId="{DB4DDA6F-E09D-4172-9A26-E38A154DDBA0}" dt="2024-01-22T09:25:52.348" v="137"/>
          <ac:spMkLst>
            <pc:docMk/>
            <pc:sldMk cId="1768728104" sldId="2147468984"/>
            <ac:spMk id="748" creationId="{52A172F7-40D3-395B-CCC6-FDB8624B34C3}"/>
          </ac:spMkLst>
        </pc:spChg>
        <pc:spChg chg="mod">
          <ac:chgData name="Pallavi Bothra" userId="f6f57c13-3a62-40cf-a90c-f5277fad9e73" providerId="ADAL" clId="{DB4DDA6F-E09D-4172-9A26-E38A154DDBA0}" dt="2024-01-22T09:26:13.879" v="142" actId="403"/>
          <ac:spMkLst>
            <pc:docMk/>
            <pc:sldMk cId="1768728104" sldId="2147468984"/>
            <ac:spMk id="749" creationId="{A50E6FED-D952-EBCF-AAC5-BD6B2EFDC8C8}"/>
          </ac:spMkLst>
        </pc:spChg>
        <pc:spChg chg="mod">
          <ac:chgData name="Pallavi Bothra" userId="f6f57c13-3a62-40cf-a90c-f5277fad9e73" providerId="ADAL" clId="{DB4DDA6F-E09D-4172-9A26-E38A154DDBA0}" dt="2024-01-22T09:24:43.762" v="118"/>
          <ac:spMkLst>
            <pc:docMk/>
            <pc:sldMk cId="1768728104" sldId="2147468984"/>
            <ac:spMk id="755" creationId="{2C81BA28-BF01-1AFB-6F1B-C3A82383E1EE}"/>
          </ac:spMkLst>
        </pc:spChg>
      </pc:sldChg>
      <pc:sldChg chg="add del">
        <pc:chgData name="Pallavi Bothra" userId="f6f57c13-3a62-40cf-a90c-f5277fad9e73" providerId="ADAL" clId="{DB4DDA6F-E09D-4172-9A26-E38A154DDBA0}" dt="2024-01-22T09:18:16.833" v="78" actId="47"/>
        <pc:sldMkLst>
          <pc:docMk/>
          <pc:sldMk cId="3170687893" sldId="2147468984"/>
        </pc:sldMkLst>
      </pc:sldChg>
      <pc:sldChg chg="new del">
        <pc:chgData name="Pallavi Bothra" userId="f6f57c13-3a62-40cf-a90c-f5277fad9e73" providerId="ADAL" clId="{DB4DDA6F-E09D-4172-9A26-E38A154DDBA0}" dt="2024-01-22T09:23:39.526" v="113" actId="47"/>
        <pc:sldMkLst>
          <pc:docMk/>
          <pc:sldMk cId="3953370922" sldId="2147468984"/>
        </pc:sldMkLst>
      </pc:sldChg>
      <pc:sldChg chg="addSp delSp modSp add mod">
        <pc:chgData name="Pallavi Bothra" userId="f6f57c13-3a62-40cf-a90c-f5277fad9e73" providerId="ADAL" clId="{DB4DDA6F-E09D-4172-9A26-E38A154DDBA0}" dt="2024-01-22T11:19:59.578" v="869" actId="1076"/>
        <pc:sldMkLst>
          <pc:docMk/>
          <pc:sldMk cId="2102509986" sldId="2147468985"/>
        </pc:sldMkLst>
        <pc:spChg chg="mod">
          <ac:chgData name="Pallavi Bothra" userId="f6f57c13-3a62-40cf-a90c-f5277fad9e73" providerId="ADAL" clId="{DB4DDA6F-E09D-4172-9A26-E38A154DDBA0}" dt="2024-01-22T09:31:35.714" v="216" actId="20577"/>
          <ac:spMkLst>
            <pc:docMk/>
            <pc:sldMk cId="2102509986" sldId="2147468985"/>
            <ac:spMk id="3" creationId="{7F305365-29CA-C7B5-6E3F-210DC60ACF6E}"/>
          </ac:spMkLst>
        </pc:spChg>
        <pc:spChg chg="mod">
          <ac:chgData name="Pallavi Bothra" userId="f6f57c13-3a62-40cf-a90c-f5277fad9e73" providerId="ADAL" clId="{DB4DDA6F-E09D-4172-9A26-E38A154DDBA0}" dt="2024-01-22T09:29:36.365" v="161"/>
          <ac:spMkLst>
            <pc:docMk/>
            <pc:sldMk cId="2102509986" sldId="2147468985"/>
            <ac:spMk id="5" creationId="{A8C94439-AB1F-C277-A8E0-41468A768E62}"/>
          </ac:spMkLst>
        </pc:spChg>
        <pc:spChg chg="mod">
          <ac:chgData name="Pallavi Bothra" userId="f6f57c13-3a62-40cf-a90c-f5277fad9e73" providerId="ADAL" clId="{DB4DDA6F-E09D-4172-9A26-E38A154DDBA0}" dt="2024-01-22T09:29:49.954" v="173" actId="20577"/>
          <ac:spMkLst>
            <pc:docMk/>
            <pc:sldMk cId="2102509986" sldId="2147468985"/>
            <ac:spMk id="9" creationId="{655A6175-6E74-01BE-C97E-280A846753DD}"/>
          </ac:spMkLst>
        </pc:spChg>
        <pc:spChg chg="mod">
          <ac:chgData name="Pallavi Bothra" userId="f6f57c13-3a62-40cf-a90c-f5277fad9e73" providerId="ADAL" clId="{DB4DDA6F-E09D-4172-9A26-E38A154DDBA0}" dt="2024-01-22T09:29:44.640" v="167" actId="20577"/>
          <ac:spMkLst>
            <pc:docMk/>
            <pc:sldMk cId="2102509986" sldId="2147468985"/>
            <ac:spMk id="11" creationId="{707C5A75-ED52-D606-7AC4-959202D8012F}"/>
          </ac:spMkLst>
        </pc:spChg>
        <pc:spChg chg="mod">
          <ac:chgData name="Pallavi Bothra" userId="f6f57c13-3a62-40cf-a90c-f5277fad9e73" providerId="ADAL" clId="{DB4DDA6F-E09D-4172-9A26-E38A154DDBA0}" dt="2024-01-22T09:31:15.132" v="210"/>
          <ac:spMkLst>
            <pc:docMk/>
            <pc:sldMk cId="2102509986" sldId="2147468985"/>
            <ac:spMk id="13" creationId="{A55D2298-5195-C0E4-B136-A0B1A68F1344}"/>
          </ac:spMkLst>
        </pc:spChg>
        <pc:spChg chg="mod">
          <ac:chgData name="Pallavi Bothra" userId="f6f57c13-3a62-40cf-a90c-f5277fad9e73" providerId="ADAL" clId="{DB4DDA6F-E09D-4172-9A26-E38A154DDBA0}" dt="2024-01-22T09:29:00.494" v="155" actId="14100"/>
          <ac:spMkLst>
            <pc:docMk/>
            <pc:sldMk cId="2102509986" sldId="2147468985"/>
            <ac:spMk id="16" creationId="{60AFD7A3-3381-BC80-1030-669AFE6D746E}"/>
          </ac:spMkLst>
        </pc:spChg>
        <pc:spChg chg="mod">
          <ac:chgData name="Pallavi Bothra" userId="f6f57c13-3a62-40cf-a90c-f5277fad9e73" providerId="ADAL" clId="{DB4DDA6F-E09D-4172-9A26-E38A154DDBA0}" dt="2024-01-22T09:31:46.444" v="220" actId="6549"/>
          <ac:spMkLst>
            <pc:docMk/>
            <pc:sldMk cId="2102509986" sldId="2147468985"/>
            <ac:spMk id="17" creationId="{9485B9F8-9806-D2FC-8CAF-164905405243}"/>
          </ac:spMkLst>
        </pc:spChg>
        <pc:spChg chg="mod">
          <ac:chgData name="Pallavi Bothra" userId="f6f57c13-3a62-40cf-a90c-f5277fad9e73" providerId="ADAL" clId="{DB4DDA6F-E09D-4172-9A26-E38A154DDBA0}" dt="2024-01-22T09:28:36.381" v="150"/>
          <ac:spMkLst>
            <pc:docMk/>
            <pc:sldMk cId="2102509986" sldId="2147468985"/>
            <ac:spMk id="19" creationId="{908584C9-8053-BAF4-2837-F31222763A77}"/>
          </ac:spMkLst>
        </pc:spChg>
        <pc:spChg chg="mod">
          <ac:chgData name="Pallavi Bothra" userId="f6f57c13-3a62-40cf-a90c-f5277fad9e73" providerId="ADAL" clId="{DB4DDA6F-E09D-4172-9A26-E38A154DDBA0}" dt="2024-01-22T11:19:55.937" v="868" actId="1076"/>
          <ac:spMkLst>
            <pc:docMk/>
            <pc:sldMk cId="2102509986" sldId="2147468985"/>
            <ac:spMk id="20" creationId="{8BC02F85-542C-62AC-AE9B-960CD2FC3FDC}"/>
          </ac:spMkLst>
        </pc:spChg>
        <pc:spChg chg="mod">
          <ac:chgData name="Pallavi Bothra" userId="f6f57c13-3a62-40cf-a90c-f5277fad9e73" providerId="ADAL" clId="{DB4DDA6F-E09D-4172-9A26-E38A154DDBA0}" dt="2024-01-22T09:28:42.152" v="151"/>
          <ac:spMkLst>
            <pc:docMk/>
            <pc:sldMk cId="2102509986" sldId="2147468985"/>
            <ac:spMk id="742" creationId="{C45ED160-274D-7D5D-6A82-81870E69F4BD}"/>
          </ac:spMkLst>
        </pc:spChg>
        <pc:spChg chg="mod">
          <ac:chgData name="Pallavi Bothra" userId="f6f57c13-3a62-40cf-a90c-f5277fad9e73" providerId="ADAL" clId="{DB4DDA6F-E09D-4172-9A26-E38A154DDBA0}" dt="2024-01-22T09:30:00.315" v="176" actId="6549"/>
          <ac:spMkLst>
            <pc:docMk/>
            <pc:sldMk cId="2102509986" sldId="2147468985"/>
            <ac:spMk id="747" creationId="{42314759-16C9-2A2E-4382-7C21536611C2}"/>
          </ac:spMkLst>
        </pc:spChg>
        <pc:spChg chg="mod">
          <ac:chgData name="Pallavi Bothra" userId="f6f57c13-3a62-40cf-a90c-f5277fad9e73" providerId="ADAL" clId="{DB4DDA6F-E09D-4172-9A26-E38A154DDBA0}" dt="2024-01-22T09:31:08.366" v="209" actId="255"/>
          <ac:spMkLst>
            <pc:docMk/>
            <pc:sldMk cId="2102509986" sldId="2147468985"/>
            <ac:spMk id="748" creationId="{52A172F7-40D3-395B-CCC6-FDB8624B34C3}"/>
          </ac:spMkLst>
        </pc:spChg>
        <pc:spChg chg="mod">
          <ac:chgData name="Pallavi Bothra" userId="f6f57c13-3a62-40cf-a90c-f5277fad9e73" providerId="ADAL" clId="{DB4DDA6F-E09D-4172-9A26-E38A154DDBA0}" dt="2024-01-22T09:31:21.310" v="212" actId="20577"/>
          <ac:spMkLst>
            <pc:docMk/>
            <pc:sldMk cId="2102509986" sldId="2147468985"/>
            <ac:spMk id="749" creationId="{A50E6FED-D952-EBCF-AAC5-BD6B2EFDC8C8}"/>
          </ac:spMkLst>
        </pc:spChg>
        <pc:spChg chg="mod">
          <ac:chgData name="Pallavi Bothra" userId="f6f57c13-3a62-40cf-a90c-f5277fad9e73" providerId="ADAL" clId="{DB4DDA6F-E09D-4172-9A26-E38A154DDBA0}" dt="2024-01-22T09:28:48.376" v="152"/>
          <ac:spMkLst>
            <pc:docMk/>
            <pc:sldMk cId="2102509986" sldId="2147468985"/>
            <ac:spMk id="755" creationId="{2C81BA28-BF01-1AFB-6F1B-C3A82383E1EE}"/>
          </ac:spMkLst>
        </pc:spChg>
        <pc:picChg chg="del">
          <ac:chgData name="Pallavi Bothra" userId="f6f57c13-3a62-40cf-a90c-f5277fad9e73" providerId="ADAL" clId="{DB4DDA6F-E09D-4172-9A26-E38A154DDBA0}" dt="2024-01-22T09:32:35.465" v="221" actId="478"/>
          <ac:picMkLst>
            <pc:docMk/>
            <pc:sldMk cId="2102509986" sldId="2147468985"/>
            <ac:picMk id="18" creationId="{390A0B34-73DA-A08E-28FC-FD7F881CDA39}"/>
          </ac:picMkLst>
        </pc:picChg>
        <pc:picChg chg="del">
          <ac:chgData name="Pallavi Bothra" userId="f6f57c13-3a62-40cf-a90c-f5277fad9e73" providerId="ADAL" clId="{DB4DDA6F-E09D-4172-9A26-E38A154DDBA0}" dt="2024-01-22T10:40:28.942" v="725" actId="478"/>
          <ac:picMkLst>
            <pc:docMk/>
            <pc:sldMk cId="2102509986" sldId="2147468985"/>
            <ac:picMk id="21" creationId="{281F5FD2-C0D9-55BD-0369-5E087C3AB227}"/>
          </ac:picMkLst>
        </pc:picChg>
        <pc:picChg chg="add mod">
          <ac:chgData name="Pallavi Bothra" userId="f6f57c13-3a62-40cf-a90c-f5277fad9e73" providerId="ADAL" clId="{DB4DDA6F-E09D-4172-9A26-E38A154DDBA0}" dt="2024-01-22T09:33:04.970" v="231" actId="1076"/>
          <ac:picMkLst>
            <pc:docMk/>
            <pc:sldMk cId="2102509986" sldId="2147468985"/>
            <ac:picMk id="1026" creationId="{AB4EBD3A-6CAC-695B-0C0D-222AA33F09F4}"/>
          </ac:picMkLst>
        </pc:picChg>
        <pc:picChg chg="add mod">
          <ac:chgData name="Pallavi Bothra" userId="f6f57c13-3a62-40cf-a90c-f5277fad9e73" providerId="ADAL" clId="{DB4DDA6F-E09D-4172-9A26-E38A154DDBA0}" dt="2024-01-22T11:19:59.578" v="869" actId="1076"/>
          <ac:picMkLst>
            <pc:docMk/>
            <pc:sldMk cId="2102509986" sldId="2147468985"/>
            <ac:picMk id="1028" creationId="{A2F23B9D-4411-B075-AE2F-C7049810F550}"/>
          </ac:picMkLst>
        </pc:picChg>
      </pc:sldChg>
      <pc:sldChg chg="add del">
        <pc:chgData name="Pallavi Bothra" userId="f6f57c13-3a62-40cf-a90c-f5277fad9e73" providerId="ADAL" clId="{DB4DDA6F-E09D-4172-9A26-E38A154DDBA0}" dt="2024-01-22T09:19:17.707" v="86" actId="47"/>
        <pc:sldMkLst>
          <pc:docMk/>
          <pc:sldMk cId="3453600819" sldId="2147468985"/>
        </pc:sldMkLst>
      </pc:sldChg>
      <pc:sldChg chg="add del">
        <pc:chgData name="Pallavi Bothra" userId="f6f57c13-3a62-40cf-a90c-f5277fad9e73" providerId="ADAL" clId="{DB4DDA6F-E09D-4172-9A26-E38A154DDBA0}" dt="2024-01-22T09:28:19.425" v="148"/>
        <pc:sldMkLst>
          <pc:docMk/>
          <pc:sldMk cId="4178918087" sldId="2147468985"/>
        </pc:sldMkLst>
      </pc:sldChg>
      <pc:sldChg chg="add del">
        <pc:chgData name="Pallavi Bothra" userId="f6f57c13-3a62-40cf-a90c-f5277fad9e73" providerId="ADAL" clId="{DB4DDA6F-E09D-4172-9A26-E38A154DDBA0}" dt="2024-01-22T09:19:17.707" v="86" actId="47"/>
        <pc:sldMkLst>
          <pc:docMk/>
          <pc:sldMk cId="48224941" sldId="2147468986"/>
        </pc:sldMkLst>
      </pc:sldChg>
      <pc:sldChg chg="addSp delSp modSp add mod">
        <pc:chgData name="Pallavi Bothra" userId="f6f57c13-3a62-40cf-a90c-f5277fad9e73" providerId="ADAL" clId="{DB4DDA6F-E09D-4172-9A26-E38A154DDBA0}" dt="2024-01-22T09:38:18.917" v="288" actId="1035"/>
        <pc:sldMkLst>
          <pc:docMk/>
          <pc:sldMk cId="1375069938" sldId="2147468986"/>
        </pc:sldMkLst>
        <pc:spChg chg="mod">
          <ac:chgData name="Pallavi Bothra" userId="f6f57c13-3a62-40cf-a90c-f5277fad9e73" providerId="ADAL" clId="{DB4DDA6F-E09D-4172-9A26-E38A154DDBA0}" dt="2024-01-22T09:36:10.354" v="261" actId="20577"/>
          <ac:spMkLst>
            <pc:docMk/>
            <pc:sldMk cId="1375069938" sldId="2147468986"/>
            <ac:spMk id="3" creationId="{7F305365-29CA-C7B5-6E3F-210DC60ACF6E}"/>
          </ac:spMkLst>
        </pc:spChg>
        <pc:spChg chg="mod">
          <ac:chgData name="Pallavi Bothra" userId="f6f57c13-3a62-40cf-a90c-f5277fad9e73" providerId="ADAL" clId="{DB4DDA6F-E09D-4172-9A26-E38A154DDBA0}" dt="2024-01-22T09:35:37.698" v="247"/>
          <ac:spMkLst>
            <pc:docMk/>
            <pc:sldMk cId="1375069938" sldId="2147468986"/>
            <ac:spMk id="13" creationId="{A55D2298-5195-C0E4-B136-A0B1A68F1344}"/>
          </ac:spMkLst>
        </pc:spChg>
        <pc:spChg chg="mod">
          <ac:chgData name="Pallavi Bothra" userId="f6f57c13-3a62-40cf-a90c-f5277fad9e73" providerId="ADAL" clId="{DB4DDA6F-E09D-4172-9A26-E38A154DDBA0}" dt="2024-01-22T09:34:58.932" v="242"/>
          <ac:spMkLst>
            <pc:docMk/>
            <pc:sldMk cId="1375069938" sldId="2147468986"/>
            <ac:spMk id="16" creationId="{60AFD7A3-3381-BC80-1030-669AFE6D746E}"/>
          </ac:spMkLst>
        </pc:spChg>
        <pc:spChg chg="mod">
          <ac:chgData name="Pallavi Bothra" userId="f6f57c13-3a62-40cf-a90c-f5277fad9e73" providerId="ADAL" clId="{DB4DDA6F-E09D-4172-9A26-E38A154DDBA0}" dt="2024-01-22T09:36:23.964" v="265" actId="6549"/>
          <ac:spMkLst>
            <pc:docMk/>
            <pc:sldMk cId="1375069938" sldId="2147468986"/>
            <ac:spMk id="17" creationId="{9485B9F8-9806-D2FC-8CAF-164905405243}"/>
          </ac:spMkLst>
        </pc:spChg>
        <pc:spChg chg="mod">
          <ac:chgData name="Pallavi Bothra" userId="f6f57c13-3a62-40cf-a90c-f5277fad9e73" providerId="ADAL" clId="{DB4DDA6F-E09D-4172-9A26-E38A154DDBA0}" dt="2024-01-22T09:34:42.352" v="234"/>
          <ac:spMkLst>
            <pc:docMk/>
            <pc:sldMk cId="1375069938" sldId="2147468986"/>
            <ac:spMk id="19" creationId="{908584C9-8053-BAF4-2837-F31222763A77}"/>
          </ac:spMkLst>
        </pc:spChg>
        <pc:spChg chg="mod">
          <ac:chgData name="Pallavi Bothra" userId="f6f57c13-3a62-40cf-a90c-f5277fad9e73" providerId="ADAL" clId="{DB4DDA6F-E09D-4172-9A26-E38A154DDBA0}" dt="2024-01-22T09:35:05.689" v="243"/>
          <ac:spMkLst>
            <pc:docMk/>
            <pc:sldMk cId="1375069938" sldId="2147468986"/>
            <ac:spMk id="20" creationId="{8BC02F85-542C-62AC-AE9B-960CD2FC3FDC}"/>
          </ac:spMkLst>
        </pc:spChg>
        <pc:spChg chg="mod">
          <ac:chgData name="Pallavi Bothra" userId="f6f57c13-3a62-40cf-a90c-f5277fad9e73" providerId="ADAL" clId="{DB4DDA6F-E09D-4172-9A26-E38A154DDBA0}" dt="2024-01-22T09:34:47.869" v="235"/>
          <ac:spMkLst>
            <pc:docMk/>
            <pc:sldMk cId="1375069938" sldId="2147468986"/>
            <ac:spMk id="742" creationId="{C45ED160-274D-7D5D-6A82-81870E69F4BD}"/>
          </ac:spMkLst>
        </pc:spChg>
        <pc:spChg chg="mod">
          <ac:chgData name="Pallavi Bothra" userId="f6f57c13-3a62-40cf-a90c-f5277fad9e73" providerId="ADAL" clId="{DB4DDA6F-E09D-4172-9A26-E38A154DDBA0}" dt="2024-01-22T09:35:19.723" v="244"/>
          <ac:spMkLst>
            <pc:docMk/>
            <pc:sldMk cId="1375069938" sldId="2147468986"/>
            <ac:spMk id="747" creationId="{42314759-16C9-2A2E-4382-7C21536611C2}"/>
          </ac:spMkLst>
        </pc:spChg>
        <pc:spChg chg="mod">
          <ac:chgData name="Pallavi Bothra" userId="f6f57c13-3a62-40cf-a90c-f5277fad9e73" providerId="ADAL" clId="{DB4DDA6F-E09D-4172-9A26-E38A154DDBA0}" dt="2024-01-22T09:35:27.267" v="246" actId="403"/>
          <ac:spMkLst>
            <pc:docMk/>
            <pc:sldMk cId="1375069938" sldId="2147468986"/>
            <ac:spMk id="748" creationId="{52A172F7-40D3-395B-CCC6-FDB8624B34C3}"/>
          </ac:spMkLst>
        </pc:spChg>
        <pc:spChg chg="mod">
          <ac:chgData name="Pallavi Bothra" userId="f6f57c13-3a62-40cf-a90c-f5277fad9e73" providerId="ADAL" clId="{DB4DDA6F-E09D-4172-9A26-E38A154DDBA0}" dt="2024-01-22T09:35:46.460" v="250" actId="20577"/>
          <ac:spMkLst>
            <pc:docMk/>
            <pc:sldMk cId="1375069938" sldId="2147468986"/>
            <ac:spMk id="749" creationId="{A50E6FED-D952-EBCF-AAC5-BD6B2EFDC8C8}"/>
          </ac:spMkLst>
        </pc:spChg>
        <pc:spChg chg="mod">
          <ac:chgData name="Pallavi Bothra" userId="f6f57c13-3a62-40cf-a90c-f5277fad9e73" providerId="ADAL" clId="{DB4DDA6F-E09D-4172-9A26-E38A154DDBA0}" dt="2024-01-22T09:34:56.377" v="241" actId="20577"/>
          <ac:spMkLst>
            <pc:docMk/>
            <pc:sldMk cId="1375069938" sldId="2147468986"/>
            <ac:spMk id="755" creationId="{2C81BA28-BF01-1AFB-6F1B-C3A82383E1EE}"/>
          </ac:spMkLst>
        </pc:spChg>
        <pc:picChg chg="del">
          <ac:chgData name="Pallavi Bothra" userId="f6f57c13-3a62-40cf-a90c-f5277fad9e73" providerId="ADAL" clId="{DB4DDA6F-E09D-4172-9A26-E38A154DDBA0}" dt="2024-01-22T09:37:25.931" v="266" actId="478"/>
          <ac:picMkLst>
            <pc:docMk/>
            <pc:sldMk cId="1375069938" sldId="2147468986"/>
            <ac:picMk id="21" creationId="{281F5FD2-C0D9-55BD-0369-5E087C3AB227}"/>
          </ac:picMkLst>
        </pc:picChg>
        <pc:picChg chg="del">
          <ac:chgData name="Pallavi Bothra" userId="f6f57c13-3a62-40cf-a90c-f5277fad9e73" providerId="ADAL" clId="{DB4DDA6F-E09D-4172-9A26-E38A154DDBA0}" dt="2024-01-22T09:37:48.087" v="271" actId="478"/>
          <ac:picMkLst>
            <pc:docMk/>
            <pc:sldMk cId="1375069938" sldId="2147468986"/>
            <ac:picMk id="1026" creationId="{AB4EBD3A-6CAC-695B-0C0D-222AA33F09F4}"/>
          </ac:picMkLst>
        </pc:picChg>
        <pc:picChg chg="add mod">
          <ac:chgData name="Pallavi Bothra" userId="f6f57c13-3a62-40cf-a90c-f5277fad9e73" providerId="ADAL" clId="{DB4DDA6F-E09D-4172-9A26-E38A154DDBA0}" dt="2024-01-22T09:37:34.341" v="270" actId="1076"/>
          <ac:picMkLst>
            <pc:docMk/>
            <pc:sldMk cId="1375069938" sldId="2147468986"/>
            <ac:picMk id="2050" creationId="{5C264030-A15B-434C-73BB-4B790A5534A9}"/>
          </ac:picMkLst>
        </pc:picChg>
        <pc:picChg chg="add mod">
          <ac:chgData name="Pallavi Bothra" userId="f6f57c13-3a62-40cf-a90c-f5277fad9e73" providerId="ADAL" clId="{DB4DDA6F-E09D-4172-9A26-E38A154DDBA0}" dt="2024-01-22T09:38:18.917" v="288" actId="1035"/>
          <ac:picMkLst>
            <pc:docMk/>
            <pc:sldMk cId="1375069938" sldId="2147468986"/>
            <ac:picMk id="2052" creationId="{D6C8D2FA-606E-3607-3A9F-E2493DB33CF0}"/>
          </ac:picMkLst>
        </pc:picChg>
      </pc:sldChg>
      <pc:sldChg chg="add del">
        <pc:chgData name="Pallavi Bothra" userId="f6f57c13-3a62-40cf-a90c-f5277fad9e73" providerId="ADAL" clId="{DB4DDA6F-E09D-4172-9A26-E38A154DDBA0}" dt="2024-01-22T09:19:17.707" v="86" actId="47"/>
        <pc:sldMkLst>
          <pc:docMk/>
          <pc:sldMk cId="2465498797" sldId="2147468987"/>
        </pc:sldMkLst>
      </pc:sldChg>
      <pc:sldChg chg="addSp delSp modSp add mod">
        <pc:chgData name="Pallavi Bothra" userId="f6f57c13-3a62-40cf-a90c-f5277fad9e73" providerId="ADAL" clId="{DB4DDA6F-E09D-4172-9A26-E38A154DDBA0}" dt="2024-01-22T09:52:19.542" v="460" actId="404"/>
        <pc:sldMkLst>
          <pc:docMk/>
          <pc:sldMk cId="3575892548" sldId="2147468987"/>
        </pc:sldMkLst>
        <pc:spChg chg="mod">
          <ac:chgData name="Pallavi Bothra" userId="f6f57c13-3a62-40cf-a90c-f5277fad9e73" providerId="ADAL" clId="{DB4DDA6F-E09D-4172-9A26-E38A154DDBA0}" dt="2024-01-22T09:45:07.347" v="388" actId="20577"/>
          <ac:spMkLst>
            <pc:docMk/>
            <pc:sldMk cId="3575892548" sldId="2147468987"/>
            <ac:spMk id="3" creationId="{7F305365-29CA-C7B5-6E3F-210DC60ACF6E}"/>
          </ac:spMkLst>
        </pc:spChg>
        <pc:spChg chg="mod">
          <ac:chgData name="Pallavi Bothra" userId="f6f57c13-3a62-40cf-a90c-f5277fad9e73" providerId="ADAL" clId="{DB4DDA6F-E09D-4172-9A26-E38A154DDBA0}" dt="2024-01-22T09:39:19.613" v="297" actId="20577"/>
          <ac:spMkLst>
            <pc:docMk/>
            <pc:sldMk cId="3575892548" sldId="2147468987"/>
            <ac:spMk id="5" creationId="{A8C94439-AB1F-C277-A8E0-41468A768E62}"/>
          </ac:spMkLst>
        </pc:spChg>
        <pc:spChg chg="mod">
          <ac:chgData name="Pallavi Bothra" userId="f6f57c13-3a62-40cf-a90c-f5277fad9e73" providerId="ADAL" clId="{DB4DDA6F-E09D-4172-9A26-E38A154DDBA0}" dt="2024-01-22T09:39:29.457" v="306" actId="20577"/>
          <ac:spMkLst>
            <pc:docMk/>
            <pc:sldMk cId="3575892548" sldId="2147468987"/>
            <ac:spMk id="9" creationId="{655A6175-6E74-01BE-C97E-280A846753DD}"/>
          </ac:spMkLst>
        </pc:spChg>
        <pc:spChg chg="mod">
          <ac:chgData name="Pallavi Bothra" userId="f6f57c13-3a62-40cf-a90c-f5277fad9e73" providerId="ADAL" clId="{DB4DDA6F-E09D-4172-9A26-E38A154DDBA0}" dt="2024-01-22T09:39:23.958" v="300" actId="20577"/>
          <ac:spMkLst>
            <pc:docMk/>
            <pc:sldMk cId="3575892548" sldId="2147468987"/>
            <ac:spMk id="11" creationId="{707C5A75-ED52-D606-7AC4-959202D8012F}"/>
          </ac:spMkLst>
        </pc:spChg>
        <pc:spChg chg="mod">
          <ac:chgData name="Pallavi Bothra" userId="f6f57c13-3a62-40cf-a90c-f5277fad9e73" providerId="ADAL" clId="{DB4DDA6F-E09D-4172-9A26-E38A154DDBA0}" dt="2024-01-22T09:46:12.580" v="407" actId="313"/>
          <ac:spMkLst>
            <pc:docMk/>
            <pc:sldMk cId="3575892548" sldId="2147468987"/>
            <ac:spMk id="13" creationId="{A55D2298-5195-C0E4-B136-A0B1A68F1344}"/>
          </ac:spMkLst>
        </pc:spChg>
        <pc:spChg chg="mod">
          <ac:chgData name="Pallavi Bothra" userId="f6f57c13-3a62-40cf-a90c-f5277fad9e73" providerId="ADAL" clId="{DB4DDA6F-E09D-4172-9A26-E38A154DDBA0}" dt="2024-01-22T09:39:00.061" v="293"/>
          <ac:spMkLst>
            <pc:docMk/>
            <pc:sldMk cId="3575892548" sldId="2147468987"/>
            <ac:spMk id="16" creationId="{60AFD7A3-3381-BC80-1030-669AFE6D746E}"/>
          </ac:spMkLst>
        </pc:spChg>
        <pc:spChg chg="mod">
          <ac:chgData name="Pallavi Bothra" userId="f6f57c13-3a62-40cf-a90c-f5277fad9e73" providerId="ADAL" clId="{DB4DDA6F-E09D-4172-9A26-E38A154DDBA0}" dt="2024-01-22T09:46:24.595" v="409" actId="20577"/>
          <ac:spMkLst>
            <pc:docMk/>
            <pc:sldMk cId="3575892548" sldId="2147468987"/>
            <ac:spMk id="17" creationId="{9485B9F8-9806-D2FC-8CAF-164905405243}"/>
          </ac:spMkLst>
        </pc:spChg>
        <pc:spChg chg="mod">
          <ac:chgData name="Pallavi Bothra" userId="f6f57c13-3a62-40cf-a90c-f5277fad9e73" providerId="ADAL" clId="{DB4DDA6F-E09D-4172-9A26-E38A154DDBA0}" dt="2024-01-22T09:38:42.730" v="290"/>
          <ac:spMkLst>
            <pc:docMk/>
            <pc:sldMk cId="3575892548" sldId="2147468987"/>
            <ac:spMk id="19" creationId="{908584C9-8053-BAF4-2837-F31222763A77}"/>
          </ac:spMkLst>
        </pc:spChg>
        <pc:spChg chg="mod">
          <ac:chgData name="Pallavi Bothra" userId="f6f57c13-3a62-40cf-a90c-f5277fad9e73" providerId="ADAL" clId="{DB4DDA6F-E09D-4172-9A26-E38A154DDBA0}" dt="2024-01-22T09:45:58.154" v="406" actId="1036"/>
          <ac:spMkLst>
            <pc:docMk/>
            <pc:sldMk cId="3575892548" sldId="2147468987"/>
            <ac:spMk id="20" creationId="{8BC02F85-542C-62AC-AE9B-960CD2FC3FDC}"/>
          </ac:spMkLst>
        </pc:spChg>
        <pc:spChg chg="mod">
          <ac:chgData name="Pallavi Bothra" userId="f6f57c13-3a62-40cf-a90c-f5277fad9e73" providerId="ADAL" clId="{DB4DDA6F-E09D-4172-9A26-E38A154DDBA0}" dt="2024-01-22T09:38:50.604" v="292" actId="403"/>
          <ac:spMkLst>
            <pc:docMk/>
            <pc:sldMk cId="3575892548" sldId="2147468987"/>
            <ac:spMk id="742" creationId="{C45ED160-274D-7D5D-6A82-81870E69F4BD}"/>
          </ac:spMkLst>
        </pc:spChg>
        <pc:spChg chg="mod">
          <ac:chgData name="Pallavi Bothra" userId="f6f57c13-3a62-40cf-a90c-f5277fad9e73" providerId="ADAL" clId="{DB4DDA6F-E09D-4172-9A26-E38A154DDBA0}" dt="2024-01-22T09:39:36.051" v="307"/>
          <ac:spMkLst>
            <pc:docMk/>
            <pc:sldMk cId="3575892548" sldId="2147468987"/>
            <ac:spMk id="747" creationId="{42314759-16C9-2A2E-4382-7C21536611C2}"/>
          </ac:spMkLst>
        </pc:spChg>
        <pc:spChg chg="mod">
          <ac:chgData name="Pallavi Bothra" userId="f6f57c13-3a62-40cf-a90c-f5277fad9e73" providerId="ADAL" clId="{DB4DDA6F-E09D-4172-9A26-E38A154DDBA0}" dt="2024-01-22T09:52:19.542" v="460" actId="404"/>
          <ac:spMkLst>
            <pc:docMk/>
            <pc:sldMk cId="3575892548" sldId="2147468987"/>
            <ac:spMk id="748" creationId="{52A172F7-40D3-395B-CCC6-FDB8624B34C3}"/>
          </ac:spMkLst>
        </pc:spChg>
        <pc:spChg chg="mod">
          <ac:chgData name="Pallavi Bothra" userId="f6f57c13-3a62-40cf-a90c-f5277fad9e73" providerId="ADAL" clId="{DB4DDA6F-E09D-4172-9A26-E38A154DDBA0}" dt="2024-01-22T09:39:56.753" v="310" actId="255"/>
          <ac:spMkLst>
            <pc:docMk/>
            <pc:sldMk cId="3575892548" sldId="2147468987"/>
            <ac:spMk id="749" creationId="{A50E6FED-D952-EBCF-AAC5-BD6B2EFDC8C8}"/>
          </ac:spMkLst>
        </pc:spChg>
        <pc:picChg chg="del">
          <ac:chgData name="Pallavi Bothra" userId="f6f57c13-3a62-40cf-a90c-f5277fad9e73" providerId="ADAL" clId="{DB4DDA6F-E09D-4172-9A26-E38A154DDBA0}" dt="2024-01-22T09:45:23.142" v="389" actId="478"/>
          <ac:picMkLst>
            <pc:docMk/>
            <pc:sldMk cId="3575892548" sldId="2147468987"/>
            <ac:picMk id="2050" creationId="{5C264030-A15B-434C-73BB-4B790A5534A9}"/>
          </ac:picMkLst>
        </pc:picChg>
        <pc:picChg chg="del">
          <ac:chgData name="Pallavi Bothra" userId="f6f57c13-3a62-40cf-a90c-f5277fad9e73" providerId="ADAL" clId="{DB4DDA6F-E09D-4172-9A26-E38A154DDBA0}" dt="2024-01-22T09:43:46.006" v="314" actId="478"/>
          <ac:picMkLst>
            <pc:docMk/>
            <pc:sldMk cId="3575892548" sldId="2147468987"/>
            <ac:picMk id="2052" creationId="{D6C8D2FA-606E-3607-3A9F-E2493DB33CF0}"/>
          </ac:picMkLst>
        </pc:picChg>
        <pc:picChg chg="add mod">
          <ac:chgData name="Pallavi Bothra" userId="f6f57c13-3a62-40cf-a90c-f5277fad9e73" providerId="ADAL" clId="{DB4DDA6F-E09D-4172-9A26-E38A154DDBA0}" dt="2024-01-22T09:44:09.191" v="320" actId="1076"/>
          <ac:picMkLst>
            <pc:docMk/>
            <pc:sldMk cId="3575892548" sldId="2147468987"/>
            <ac:picMk id="3074" creationId="{FBFD0492-2552-4426-D15C-0B17AEBFE001}"/>
          </ac:picMkLst>
        </pc:picChg>
        <pc:picChg chg="add mod">
          <ac:chgData name="Pallavi Bothra" userId="f6f57c13-3a62-40cf-a90c-f5277fad9e73" providerId="ADAL" clId="{DB4DDA6F-E09D-4172-9A26-E38A154DDBA0}" dt="2024-01-22T09:45:58.154" v="406" actId="1036"/>
          <ac:picMkLst>
            <pc:docMk/>
            <pc:sldMk cId="3575892548" sldId="2147468987"/>
            <ac:picMk id="3076" creationId="{7383ECE7-0A89-2901-8A6E-22C2DD5BA55E}"/>
          </ac:picMkLst>
        </pc:picChg>
      </pc:sldChg>
      <pc:sldChg chg="add del">
        <pc:chgData name="Pallavi Bothra" userId="f6f57c13-3a62-40cf-a90c-f5277fad9e73" providerId="ADAL" clId="{DB4DDA6F-E09D-4172-9A26-E38A154DDBA0}" dt="2024-01-22T09:19:17.707" v="86" actId="47"/>
        <pc:sldMkLst>
          <pc:docMk/>
          <pc:sldMk cId="1895116733" sldId="2147468988"/>
        </pc:sldMkLst>
      </pc:sldChg>
      <pc:sldChg chg="addSp delSp modSp add mod">
        <pc:chgData name="Pallavi Bothra" userId="f6f57c13-3a62-40cf-a90c-f5277fad9e73" providerId="ADAL" clId="{DB4DDA6F-E09D-4172-9A26-E38A154DDBA0}" dt="2024-01-22T11:20:26.680" v="871"/>
        <pc:sldMkLst>
          <pc:docMk/>
          <pc:sldMk cId="2652630631" sldId="2147468988"/>
        </pc:sldMkLst>
        <pc:spChg chg="mod">
          <ac:chgData name="Pallavi Bothra" userId="f6f57c13-3a62-40cf-a90c-f5277fad9e73" providerId="ADAL" clId="{DB4DDA6F-E09D-4172-9A26-E38A154DDBA0}" dt="2024-01-22T09:52:10.562" v="458" actId="20577"/>
          <ac:spMkLst>
            <pc:docMk/>
            <pc:sldMk cId="2652630631" sldId="2147468988"/>
            <ac:spMk id="3" creationId="{7F305365-29CA-C7B5-6E3F-210DC60ACF6E}"/>
          </ac:spMkLst>
        </pc:spChg>
        <pc:spChg chg="add mod">
          <ac:chgData name="Pallavi Bothra" userId="f6f57c13-3a62-40cf-a90c-f5277fad9e73" providerId="ADAL" clId="{DB4DDA6F-E09D-4172-9A26-E38A154DDBA0}" dt="2024-01-22T11:20:26.680" v="871"/>
          <ac:spMkLst>
            <pc:docMk/>
            <pc:sldMk cId="2652630631" sldId="2147468988"/>
            <ac:spMk id="8" creationId="{ED978AFB-137C-91AC-0778-E7E2C0C60A24}"/>
          </ac:spMkLst>
        </pc:spChg>
        <pc:spChg chg="mod">
          <ac:chgData name="Pallavi Bothra" userId="f6f57c13-3a62-40cf-a90c-f5277fad9e73" providerId="ADAL" clId="{DB4DDA6F-E09D-4172-9A26-E38A154DDBA0}" dt="2024-01-22T09:51:24.515" v="449" actId="404"/>
          <ac:spMkLst>
            <pc:docMk/>
            <pc:sldMk cId="2652630631" sldId="2147468988"/>
            <ac:spMk id="13" creationId="{A55D2298-5195-C0E4-B136-A0B1A68F1344}"/>
          </ac:spMkLst>
        </pc:spChg>
        <pc:spChg chg="mod">
          <ac:chgData name="Pallavi Bothra" userId="f6f57c13-3a62-40cf-a90c-f5277fad9e73" providerId="ADAL" clId="{DB4DDA6F-E09D-4172-9A26-E38A154DDBA0}" dt="2024-01-22T09:47:13.147" v="420" actId="20577"/>
          <ac:spMkLst>
            <pc:docMk/>
            <pc:sldMk cId="2652630631" sldId="2147468988"/>
            <ac:spMk id="16" creationId="{60AFD7A3-3381-BC80-1030-669AFE6D746E}"/>
          </ac:spMkLst>
        </pc:spChg>
        <pc:spChg chg="mod">
          <ac:chgData name="Pallavi Bothra" userId="f6f57c13-3a62-40cf-a90c-f5277fad9e73" providerId="ADAL" clId="{DB4DDA6F-E09D-4172-9A26-E38A154DDBA0}" dt="2024-01-22T09:53:28.277" v="465" actId="20577"/>
          <ac:spMkLst>
            <pc:docMk/>
            <pc:sldMk cId="2652630631" sldId="2147468988"/>
            <ac:spMk id="17" creationId="{9485B9F8-9806-D2FC-8CAF-164905405243}"/>
          </ac:spMkLst>
        </pc:spChg>
        <pc:spChg chg="mod">
          <ac:chgData name="Pallavi Bothra" userId="f6f57c13-3a62-40cf-a90c-f5277fad9e73" providerId="ADAL" clId="{DB4DDA6F-E09D-4172-9A26-E38A154DDBA0}" dt="2024-01-22T09:46:52.288" v="415" actId="1076"/>
          <ac:spMkLst>
            <pc:docMk/>
            <pc:sldMk cId="2652630631" sldId="2147468988"/>
            <ac:spMk id="19" creationId="{908584C9-8053-BAF4-2837-F31222763A77}"/>
          </ac:spMkLst>
        </pc:spChg>
        <pc:spChg chg="del mod">
          <ac:chgData name="Pallavi Bothra" userId="f6f57c13-3a62-40cf-a90c-f5277fad9e73" providerId="ADAL" clId="{DB4DDA6F-E09D-4172-9A26-E38A154DDBA0}" dt="2024-01-22T11:20:26.085" v="870" actId="478"/>
          <ac:spMkLst>
            <pc:docMk/>
            <pc:sldMk cId="2652630631" sldId="2147468988"/>
            <ac:spMk id="20" creationId="{8BC02F85-542C-62AC-AE9B-960CD2FC3FDC}"/>
          </ac:spMkLst>
        </pc:spChg>
        <pc:spChg chg="mod">
          <ac:chgData name="Pallavi Bothra" userId="f6f57c13-3a62-40cf-a90c-f5277fad9e73" providerId="ADAL" clId="{DB4DDA6F-E09D-4172-9A26-E38A154DDBA0}" dt="2024-01-22T09:47:01.041" v="416"/>
          <ac:spMkLst>
            <pc:docMk/>
            <pc:sldMk cId="2652630631" sldId="2147468988"/>
            <ac:spMk id="742" creationId="{C45ED160-274D-7D5D-6A82-81870E69F4BD}"/>
          </ac:spMkLst>
        </pc:spChg>
        <pc:spChg chg="mod">
          <ac:chgData name="Pallavi Bothra" userId="f6f57c13-3a62-40cf-a90c-f5277fad9e73" providerId="ADAL" clId="{DB4DDA6F-E09D-4172-9A26-E38A154DDBA0}" dt="2024-01-22T09:48:00.890" v="432"/>
          <ac:spMkLst>
            <pc:docMk/>
            <pc:sldMk cId="2652630631" sldId="2147468988"/>
            <ac:spMk id="747" creationId="{42314759-16C9-2A2E-4382-7C21536611C2}"/>
          </ac:spMkLst>
        </pc:spChg>
        <pc:spChg chg="mod">
          <ac:chgData name="Pallavi Bothra" userId="f6f57c13-3a62-40cf-a90c-f5277fad9e73" providerId="ADAL" clId="{DB4DDA6F-E09D-4172-9A26-E38A154DDBA0}" dt="2024-01-22T09:48:09.726" v="435" actId="20577"/>
          <ac:spMkLst>
            <pc:docMk/>
            <pc:sldMk cId="2652630631" sldId="2147468988"/>
            <ac:spMk id="748" creationId="{52A172F7-40D3-395B-CCC6-FDB8624B34C3}"/>
          </ac:spMkLst>
        </pc:spChg>
        <pc:spChg chg="mod">
          <ac:chgData name="Pallavi Bothra" userId="f6f57c13-3a62-40cf-a90c-f5277fad9e73" providerId="ADAL" clId="{DB4DDA6F-E09D-4172-9A26-E38A154DDBA0}" dt="2024-01-22T09:51:02.003" v="447" actId="20577"/>
          <ac:spMkLst>
            <pc:docMk/>
            <pc:sldMk cId="2652630631" sldId="2147468988"/>
            <ac:spMk id="749" creationId="{A50E6FED-D952-EBCF-AAC5-BD6B2EFDC8C8}"/>
          </ac:spMkLst>
        </pc:spChg>
        <pc:spChg chg="mod">
          <ac:chgData name="Pallavi Bothra" userId="f6f57c13-3a62-40cf-a90c-f5277fad9e73" providerId="ADAL" clId="{DB4DDA6F-E09D-4172-9A26-E38A154DDBA0}" dt="2024-01-22T09:47:06.674" v="417"/>
          <ac:spMkLst>
            <pc:docMk/>
            <pc:sldMk cId="2652630631" sldId="2147468988"/>
            <ac:spMk id="755" creationId="{2C81BA28-BF01-1AFB-6F1B-C3A82383E1EE}"/>
          </ac:spMkLst>
        </pc:spChg>
        <pc:picChg chg="add mod">
          <ac:chgData name="Pallavi Bothra" userId="f6f57c13-3a62-40cf-a90c-f5277fad9e73" providerId="ADAL" clId="{DB4DDA6F-E09D-4172-9A26-E38A154DDBA0}" dt="2024-01-22T11:20:26.680" v="871"/>
          <ac:picMkLst>
            <pc:docMk/>
            <pc:sldMk cId="2652630631" sldId="2147468988"/>
            <ac:picMk id="12" creationId="{62316A4C-296C-9011-0647-5372C886554B}"/>
          </ac:picMkLst>
        </pc:picChg>
        <pc:picChg chg="del">
          <ac:chgData name="Pallavi Bothra" userId="f6f57c13-3a62-40cf-a90c-f5277fad9e73" providerId="ADAL" clId="{DB4DDA6F-E09D-4172-9A26-E38A154DDBA0}" dt="2024-01-22T09:46:36.954" v="412" actId="478"/>
          <ac:picMkLst>
            <pc:docMk/>
            <pc:sldMk cId="2652630631" sldId="2147468988"/>
            <ac:picMk id="3074" creationId="{FBFD0492-2552-4426-D15C-0B17AEBFE001}"/>
          </ac:picMkLst>
        </pc:picChg>
        <pc:picChg chg="del">
          <ac:chgData name="Pallavi Bothra" userId="f6f57c13-3a62-40cf-a90c-f5277fad9e73" providerId="ADAL" clId="{DB4DDA6F-E09D-4172-9A26-E38A154DDBA0}" dt="2024-01-22T09:47:29.487" v="421" actId="478"/>
          <ac:picMkLst>
            <pc:docMk/>
            <pc:sldMk cId="2652630631" sldId="2147468988"/>
            <ac:picMk id="3076" creationId="{7383ECE7-0A89-2901-8A6E-22C2DD5BA55E}"/>
          </ac:picMkLst>
        </pc:picChg>
        <pc:picChg chg="add mod">
          <ac:chgData name="Pallavi Bothra" userId="f6f57c13-3a62-40cf-a90c-f5277fad9e73" providerId="ADAL" clId="{DB4DDA6F-E09D-4172-9A26-E38A154DDBA0}" dt="2024-01-22T09:53:03.919" v="462" actId="1076"/>
          <ac:picMkLst>
            <pc:docMk/>
            <pc:sldMk cId="2652630631" sldId="2147468988"/>
            <ac:picMk id="4098" creationId="{FB5CC357-E0C6-16B8-96ED-05495A2CC711}"/>
          </ac:picMkLst>
        </pc:picChg>
      </pc:sldChg>
      <pc:sldChg chg="addSp delSp modSp add mod">
        <pc:chgData name="Pallavi Bothra" userId="f6f57c13-3a62-40cf-a90c-f5277fad9e73" providerId="ADAL" clId="{DB4DDA6F-E09D-4172-9A26-E38A154DDBA0}" dt="2024-01-22T11:23:24.591" v="964" actId="1076"/>
        <pc:sldMkLst>
          <pc:docMk/>
          <pc:sldMk cId="778776006" sldId="2147468989"/>
        </pc:sldMkLst>
        <pc:spChg chg="mod">
          <ac:chgData name="Pallavi Bothra" userId="f6f57c13-3a62-40cf-a90c-f5277fad9e73" providerId="ADAL" clId="{DB4DDA6F-E09D-4172-9A26-E38A154DDBA0}" dt="2024-01-22T11:23:12.753" v="962" actId="1037"/>
          <ac:spMkLst>
            <pc:docMk/>
            <pc:sldMk cId="778776006" sldId="2147468989"/>
            <ac:spMk id="2" creationId="{8C275B1D-3497-1C2D-A937-151608D42AD5}"/>
          </ac:spMkLst>
        </pc:spChg>
        <pc:spChg chg="mod">
          <ac:chgData name="Pallavi Bothra" userId="f6f57c13-3a62-40cf-a90c-f5277fad9e73" providerId="ADAL" clId="{DB4DDA6F-E09D-4172-9A26-E38A154DDBA0}" dt="2024-01-22T09:55:51.326" v="498" actId="20577"/>
          <ac:spMkLst>
            <pc:docMk/>
            <pc:sldMk cId="778776006" sldId="2147468989"/>
            <ac:spMk id="3" creationId="{7F305365-29CA-C7B5-6E3F-210DC60ACF6E}"/>
          </ac:spMkLst>
        </pc:spChg>
        <pc:spChg chg="mod">
          <ac:chgData name="Pallavi Bothra" userId="f6f57c13-3a62-40cf-a90c-f5277fad9e73" providerId="ADAL" clId="{DB4DDA6F-E09D-4172-9A26-E38A154DDBA0}" dt="2024-01-22T09:54:33.449" v="481"/>
          <ac:spMkLst>
            <pc:docMk/>
            <pc:sldMk cId="778776006" sldId="2147468989"/>
            <ac:spMk id="5" creationId="{A8C94439-AB1F-C277-A8E0-41468A768E62}"/>
          </ac:spMkLst>
        </pc:spChg>
        <pc:spChg chg="add mod">
          <ac:chgData name="Pallavi Bothra" userId="f6f57c13-3a62-40cf-a90c-f5277fad9e73" providerId="ADAL" clId="{DB4DDA6F-E09D-4172-9A26-E38A154DDBA0}" dt="2024-01-22T09:55:20.006" v="493"/>
          <ac:spMkLst>
            <pc:docMk/>
            <pc:sldMk cId="778776006" sldId="2147468989"/>
            <ac:spMk id="8" creationId="{A68D5E23-72DC-7317-3E70-7D71B7BA80BC}"/>
          </ac:spMkLst>
        </pc:spChg>
        <pc:spChg chg="del mod">
          <ac:chgData name="Pallavi Bothra" userId="f6f57c13-3a62-40cf-a90c-f5277fad9e73" providerId="ADAL" clId="{DB4DDA6F-E09D-4172-9A26-E38A154DDBA0}" dt="2024-01-22T09:55:06.458" v="487" actId="478"/>
          <ac:spMkLst>
            <pc:docMk/>
            <pc:sldMk cId="778776006" sldId="2147468989"/>
            <ac:spMk id="13" creationId="{A55D2298-5195-C0E4-B136-A0B1A68F1344}"/>
          </ac:spMkLst>
        </pc:spChg>
        <pc:spChg chg="add del">
          <ac:chgData name="Pallavi Bothra" userId="f6f57c13-3a62-40cf-a90c-f5277fad9e73" providerId="ADAL" clId="{DB4DDA6F-E09D-4172-9A26-E38A154DDBA0}" dt="2024-01-22T09:56:15.123" v="501" actId="22"/>
          <ac:spMkLst>
            <pc:docMk/>
            <pc:sldMk cId="778776006" sldId="2147468989"/>
            <ac:spMk id="14" creationId="{33F2FD47-8EF2-8284-938B-77AFEC21AED9}"/>
          </ac:spMkLst>
        </pc:spChg>
        <pc:spChg chg="mod">
          <ac:chgData name="Pallavi Bothra" userId="f6f57c13-3a62-40cf-a90c-f5277fad9e73" providerId="ADAL" clId="{DB4DDA6F-E09D-4172-9A26-E38A154DDBA0}" dt="2024-01-22T09:54:17.606" v="479"/>
          <ac:spMkLst>
            <pc:docMk/>
            <pc:sldMk cId="778776006" sldId="2147468989"/>
            <ac:spMk id="16" creationId="{60AFD7A3-3381-BC80-1030-669AFE6D746E}"/>
          </ac:spMkLst>
        </pc:spChg>
        <pc:spChg chg="mod">
          <ac:chgData name="Pallavi Bothra" userId="f6f57c13-3a62-40cf-a90c-f5277fad9e73" providerId="ADAL" clId="{DB4DDA6F-E09D-4172-9A26-E38A154DDBA0}" dt="2024-01-22T09:53:34.586" v="467" actId="20577"/>
          <ac:spMkLst>
            <pc:docMk/>
            <pc:sldMk cId="778776006" sldId="2147468989"/>
            <ac:spMk id="17" creationId="{9485B9F8-9806-D2FC-8CAF-164905405243}"/>
          </ac:spMkLst>
        </pc:spChg>
        <pc:spChg chg="mod">
          <ac:chgData name="Pallavi Bothra" userId="f6f57c13-3a62-40cf-a90c-f5277fad9e73" providerId="ADAL" clId="{DB4DDA6F-E09D-4172-9A26-E38A154DDBA0}" dt="2024-01-22T11:23:20.483" v="963" actId="1076"/>
          <ac:spMkLst>
            <pc:docMk/>
            <pc:sldMk cId="778776006" sldId="2147468989"/>
            <ac:spMk id="19" creationId="{908584C9-8053-BAF4-2837-F31222763A77}"/>
          </ac:spMkLst>
        </pc:spChg>
        <pc:spChg chg="del mod">
          <ac:chgData name="Pallavi Bothra" userId="f6f57c13-3a62-40cf-a90c-f5277fad9e73" providerId="ADAL" clId="{DB4DDA6F-E09D-4172-9A26-E38A154DDBA0}" dt="2024-01-22T11:23:00.622" v="918" actId="478"/>
          <ac:spMkLst>
            <pc:docMk/>
            <pc:sldMk cId="778776006" sldId="2147468989"/>
            <ac:spMk id="20" creationId="{8BC02F85-542C-62AC-AE9B-960CD2FC3FDC}"/>
          </ac:spMkLst>
        </pc:spChg>
        <pc:spChg chg="mod">
          <ac:chgData name="Pallavi Bothra" userId="f6f57c13-3a62-40cf-a90c-f5277fad9e73" providerId="ADAL" clId="{DB4DDA6F-E09D-4172-9A26-E38A154DDBA0}" dt="2024-01-22T09:54:05.831" v="477"/>
          <ac:spMkLst>
            <pc:docMk/>
            <pc:sldMk cId="778776006" sldId="2147468989"/>
            <ac:spMk id="742" creationId="{C45ED160-274D-7D5D-6A82-81870E69F4BD}"/>
          </ac:spMkLst>
        </pc:spChg>
        <pc:spChg chg="mod">
          <ac:chgData name="Pallavi Bothra" userId="f6f57c13-3a62-40cf-a90c-f5277fad9e73" providerId="ADAL" clId="{DB4DDA6F-E09D-4172-9A26-E38A154DDBA0}" dt="2024-01-22T09:54:48.707" v="483" actId="255"/>
          <ac:spMkLst>
            <pc:docMk/>
            <pc:sldMk cId="778776006" sldId="2147468989"/>
            <ac:spMk id="747" creationId="{42314759-16C9-2A2E-4382-7C21536611C2}"/>
          </ac:spMkLst>
        </pc:spChg>
        <pc:spChg chg="mod">
          <ac:chgData name="Pallavi Bothra" userId="f6f57c13-3a62-40cf-a90c-f5277fad9e73" providerId="ADAL" clId="{DB4DDA6F-E09D-4172-9A26-E38A154DDBA0}" dt="2024-01-22T10:41:04.749" v="730" actId="6549"/>
          <ac:spMkLst>
            <pc:docMk/>
            <pc:sldMk cId="778776006" sldId="2147468989"/>
            <ac:spMk id="748" creationId="{52A172F7-40D3-395B-CCC6-FDB8624B34C3}"/>
          </ac:spMkLst>
        </pc:spChg>
        <pc:spChg chg="mod">
          <ac:chgData name="Pallavi Bothra" userId="f6f57c13-3a62-40cf-a90c-f5277fad9e73" providerId="ADAL" clId="{DB4DDA6F-E09D-4172-9A26-E38A154DDBA0}" dt="2024-01-22T09:55:27.159" v="494"/>
          <ac:spMkLst>
            <pc:docMk/>
            <pc:sldMk cId="778776006" sldId="2147468989"/>
            <ac:spMk id="749" creationId="{A50E6FED-D952-EBCF-AAC5-BD6B2EFDC8C8}"/>
          </ac:spMkLst>
        </pc:spChg>
        <pc:spChg chg="del">
          <ac:chgData name="Pallavi Bothra" userId="f6f57c13-3a62-40cf-a90c-f5277fad9e73" providerId="ADAL" clId="{DB4DDA6F-E09D-4172-9A26-E38A154DDBA0}" dt="2024-01-22T11:23:00.622" v="918" actId="478"/>
          <ac:spMkLst>
            <pc:docMk/>
            <pc:sldMk cId="778776006" sldId="2147468989"/>
            <ac:spMk id="751" creationId="{3D178A78-CD9B-9B57-381E-6C79E4F668FB}"/>
          </ac:spMkLst>
        </pc:spChg>
        <pc:spChg chg="mod">
          <ac:chgData name="Pallavi Bothra" userId="f6f57c13-3a62-40cf-a90c-f5277fad9e73" providerId="ADAL" clId="{DB4DDA6F-E09D-4172-9A26-E38A154DDBA0}" dt="2024-01-22T09:54:12.131" v="478"/>
          <ac:spMkLst>
            <pc:docMk/>
            <pc:sldMk cId="778776006" sldId="2147468989"/>
            <ac:spMk id="755" creationId="{2C81BA28-BF01-1AFB-6F1B-C3A82383E1EE}"/>
          </ac:spMkLst>
        </pc:spChg>
        <pc:picChg chg="del">
          <ac:chgData name="Pallavi Bothra" userId="f6f57c13-3a62-40cf-a90c-f5277fad9e73" providerId="ADAL" clId="{DB4DDA6F-E09D-4172-9A26-E38A154DDBA0}" dt="2024-01-22T11:23:02.128" v="919" actId="478"/>
          <ac:picMkLst>
            <pc:docMk/>
            <pc:sldMk cId="778776006" sldId="2147468989"/>
            <ac:picMk id="767" creationId="{29D670B7-BDA2-A0FF-14C5-B1BDE284D8EE}"/>
          </ac:picMkLst>
        </pc:picChg>
        <pc:picChg chg="del">
          <ac:chgData name="Pallavi Bothra" userId="f6f57c13-3a62-40cf-a90c-f5277fad9e73" providerId="ADAL" clId="{DB4DDA6F-E09D-4172-9A26-E38A154DDBA0}" dt="2024-01-22T09:53:55.447" v="468" actId="478"/>
          <ac:picMkLst>
            <pc:docMk/>
            <pc:sldMk cId="778776006" sldId="2147468989"/>
            <ac:picMk id="4098" creationId="{FB5CC357-E0C6-16B8-96ED-05495A2CC711}"/>
          </ac:picMkLst>
        </pc:picChg>
        <pc:picChg chg="add mod">
          <ac:chgData name="Pallavi Bothra" userId="f6f57c13-3a62-40cf-a90c-f5277fad9e73" providerId="ADAL" clId="{DB4DDA6F-E09D-4172-9A26-E38A154DDBA0}" dt="2024-01-22T11:23:24.591" v="964" actId="1076"/>
          <ac:picMkLst>
            <pc:docMk/>
            <pc:sldMk cId="778776006" sldId="2147468989"/>
            <ac:picMk id="12290" creationId="{1087FCDC-9E51-A63F-6B95-1AB92B07BCA7}"/>
          </ac:picMkLst>
        </pc:picChg>
      </pc:sldChg>
      <pc:sldChg chg="add del">
        <pc:chgData name="Pallavi Bothra" userId="f6f57c13-3a62-40cf-a90c-f5277fad9e73" providerId="ADAL" clId="{DB4DDA6F-E09D-4172-9A26-E38A154DDBA0}" dt="2024-01-22T09:19:17.707" v="86" actId="47"/>
        <pc:sldMkLst>
          <pc:docMk/>
          <pc:sldMk cId="2938745935" sldId="2147468989"/>
        </pc:sldMkLst>
      </pc:sldChg>
      <pc:sldChg chg="add del">
        <pc:chgData name="Pallavi Bothra" userId="f6f57c13-3a62-40cf-a90c-f5277fad9e73" providerId="ADAL" clId="{DB4DDA6F-E09D-4172-9A26-E38A154DDBA0}" dt="2024-01-22T09:19:17.707" v="86" actId="47"/>
        <pc:sldMkLst>
          <pc:docMk/>
          <pc:sldMk cId="1289885021" sldId="2147468990"/>
        </pc:sldMkLst>
      </pc:sldChg>
      <pc:sldChg chg="addSp modSp add mod">
        <pc:chgData name="Pallavi Bothra" userId="f6f57c13-3a62-40cf-a90c-f5277fad9e73" providerId="ADAL" clId="{DB4DDA6F-E09D-4172-9A26-E38A154DDBA0}" dt="2024-01-22T10:42:32.563" v="740" actId="1076"/>
        <pc:sldMkLst>
          <pc:docMk/>
          <pc:sldMk cId="1443669175" sldId="2147468990"/>
        </pc:sldMkLst>
        <pc:spChg chg="mod">
          <ac:chgData name="Pallavi Bothra" userId="f6f57c13-3a62-40cf-a90c-f5277fad9e73" providerId="ADAL" clId="{DB4DDA6F-E09D-4172-9A26-E38A154DDBA0}" dt="2024-01-22T09:59:12.038" v="530" actId="20577"/>
          <ac:spMkLst>
            <pc:docMk/>
            <pc:sldMk cId="1443669175" sldId="2147468990"/>
            <ac:spMk id="3" creationId="{7F305365-29CA-C7B5-6E3F-210DC60ACF6E}"/>
          </ac:spMkLst>
        </pc:spChg>
        <pc:spChg chg="mod">
          <ac:chgData name="Pallavi Bothra" userId="f6f57c13-3a62-40cf-a90c-f5277fad9e73" providerId="ADAL" clId="{DB4DDA6F-E09D-4172-9A26-E38A154DDBA0}" dt="2024-01-22T09:57:38.890" v="519" actId="313"/>
          <ac:spMkLst>
            <pc:docMk/>
            <pc:sldMk cId="1443669175" sldId="2147468990"/>
            <ac:spMk id="8" creationId="{A68D5E23-72DC-7317-3E70-7D71B7BA80BC}"/>
          </ac:spMkLst>
        </pc:spChg>
        <pc:spChg chg="mod">
          <ac:chgData name="Pallavi Bothra" userId="f6f57c13-3a62-40cf-a90c-f5277fad9e73" providerId="ADAL" clId="{DB4DDA6F-E09D-4172-9A26-E38A154DDBA0}" dt="2024-01-22T09:56:53.443" v="513" actId="20577"/>
          <ac:spMkLst>
            <pc:docMk/>
            <pc:sldMk cId="1443669175" sldId="2147468990"/>
            <ac:spMk id="16" creationId="{60AFD7A3-3381-BC80-1030-669AFE6D746E}"/>
          </ac:spMkLst>
        </pc:spChg>
        <pc:spChg chg="mod">
          <ac:chgData name="Pallavi Bothra" userId="f6f57c13-3a62-40cf-a90c-f5277fad9e73" providerId="ADAL" clId="{DB4DDA6F-E09D-4172-9A26-E38A154DDBA0}" dt="2024-01-22T09:56:26.106" v="507" actId="6549"/>
          <ac:spMkLst>
            <pc:docMk/>
            <pc:sldMk cId="1443669175" sldId="2147468990"/>
            <ac:spMk id="17" creationId="{9485B9F8-9806-D2FC-8CAF-164905405243}"/>
          </ac:spMkLst>
        </pc:spChg>
        <pc:spChg chg="mod">
          <ac:chgData name="Pallavi Bothra" userId="f6f57c13-3a62-40cf-a90c-f5277fad9e73" providerId="ADAL" clId="{DB4DDA6F-E09D-4172-9A26-E38A154DDBA0}" dt="2024-01-22T10:41:37.772" v="734" actId="1076"/>
          <ac:spMkLst>
            <pc:docMk/>
            <pc:sldMk cId="1443669175" sldId="2147468990"/>
            <ac:spMk id="19" creationId="{908584C9-8053-BAF4-2837-F31222763A77}"/>
          </ac:spMkLst>
        </pc:spChg>
        <pc:spChg chg="mod">
          <ac:chgData name="Pallavi Bothra" userId="f6f57c13-3a62-40cf-a90c-f5277fad9e73" providerId="ADAL" clId="{DB4DDA6F-E09D-4172-9A26-E38A154DDBA0}" dt="2024-01-22T09:57:05.516" v="514"/>
          <ac:spMkLst>
            <pc:docMk/>
            <pc:sldMk cId="1443669175" sldId="2147468990"/>
            <ac:spMk id="20" creationId="{8BC02F85-542C-62AC-AE9B-960CD2FC3FDC}"/>
          </ac:spMkLst>
        </pc:spChg>
        <pc:spChg chg="mod">
          <ac:chgData name="Pallavi Bothra" userId="f6f57c13-3a62-40cf-a90c-f5277fad9e73" providerId="ADAL" clId="{DB4DDA6F-E09D-4172-9A26-E38A154DDBA0}" dt="2024-01-22T09:59:20.141" v="531" actId="313"/>
          <ac:spMkLst>
            <pc:docMk/>
            <pc:sldMk cId="1443669175" sldId="2147468990"/>
            <ac:spMk id="742" creationId="{C45ED160-274D-7D5D-6A82-81870E69F4BD}"/>
          </ac:spMkLst>
        </pc:spChg>
        <pc:spChg chg="mod">
          <ac:chgData name="Pallavi Bothra" userId="f6f57c13-3a62-40cf-a90c-f5277fad9e73" providerId="ADAL" clId="{DB4DDA6F-E09D-4172-9A26-E38A154DDBA0}" dt="2024-01-22T09:59:23.640" v="532" actId="313"/>
          <ac:spMkLst>
            <pc:docMk/>
            <pc:sldMk cId="1443669175" sldId="2147468990"/>
            <ac:spMk id="747" creationId="{42314759-16C9-2A2E-4382-7C21536611C2}"/>
          </ac:spMkLst>
        </pc:spChg>
        <pc:spChg chg="mod">
          <ac:chgData name="Pallavi Bothra" userId="f6f57c13-3a62-40cf-a90c-f5277fad9e73" providerId="ADAL" clId="{DB4DDA6F-E09D-4172-9A26-E38A154DDBA0}" dt="2024-01-22T09:57:28.093" v="517"/>
          <ac:spMkLst>
            <pc:docMk/>
            <pc:sldMk cId="1443669175" sldId="2147468990"/>
            <ac:spMk id="748" creationId="{52A172F7-40D3-395B-CCC6-FDB8624B34C3}"/>
          </ac:spMkLst>
        </pc:spChg>
        <pc:spChg chg="mod">
          <ac:chgData name="Pallavi Bothra" userId="f6f57c13-3a62-40cf-a90c-f5277fad9e73" providerId="ADAL" clId="{DB4DDA6F-E09D-4172-9A26-E38A154DDBA0}" dt="2024-01-22T09:58:34.372" v="520"/>
          <ac:spMkLst>
            <pc:docMk/>
            <pc:sldMk cId="1443669175" sldId="2147468990"/>
            <ac:spMk id="749" creationId="{A50E6FED-D952-EBCF-AAC5-BD6B2EFDC8C8}"/>
          </ac:spMkLst>
        </pc:spChg>
        <pc:spChg chg="mod">
          <ac:chgData name="Pallavi Bothra" userId="f6f57c13-3a62-40cf-a90c-f5277fad9e73" providerId="ADAL" clId="{DB4DDA6F-E09D-4172-9A26-E38A154DDBA0}" dt="2024-01-22T09:56:46.473" v="510"/>
          <ac:spMkLst>
            <pc:docMk/>
            <pc:sldMk cId="1443669175" sldId="2147468990"/>
            <ac:spMk id="755" creationId="{2C81BA28-BF01-1AFB-6F1B-C3A82383E1EE}"/>
          </ac:spMkLst>
        </pc:spChg>
        <pc:picChg chg="add mod">
          <ac:chgData name="Pallavi Bothra" userId="f6f57c13-3a62-40cf-a90c-f5277fad9e73" providerId="ADAL" clId="{DB4DDA6F-E09D-4172-9A26-E38A154DDBA0}" dt="2024-01-22T10:41:30.245" v="733" actId="14100"/>
          <ac:picMkLst>
            <pc:docMk/>
            <pc:sldMk cId="1443669175" sldId="2147468990"/>
            <ac:picMk id="11266" creationId="{4CEC93F1-41B6-E42C-4268-816DA143FE68}"/>
          </ac:picMkLst>
        </pc:picChg>
        <pc:picChg chg="add mod">
          <ac:chgData name="Pallavi Bothra" userId="f6f57c13-3a62-40cf-a90c-f5277fad9e73" providerId="ADAL" clId="{DB4DDA6F-E09D-4172-9A26-E38A154DDBA0}" dt="2024-01-22T10:42:32.563" v="740" actId="1076"/>
          <ac:picMkLst>
            <pc:docMk/>
            <pc:sldMk cId="1443669175" sldId="2147468990"/>
            <ac:picMk id="11268" creationId="{EAB0630B-DF17-47B3-837D-34593AE0287E}"/>
          </ac:picMkLst>
        </pc:picChg>
      </pc:sldChg>
      <pc:sldChg chg="addSp modSp add mod">
        <pc:chgData name="Pallavi Bothra" userId="f6f57c13-3a62-40cf-a90c-f5277fad9e73" providerId="ADAL" clId="{DB4DDA6F-E09D-4172-9A26-E38A154DDBA0}" dt="2024-01-22T10:44:44.039" v="758" actId="1076"/>
        <pc:sldMkLst>
          <pc:docMk/>
          <pc:sldMk cId="1164575737" sldId="2147468991"/>
        </pc:sldMkLst>
        <pc:spChg chg="mod">
          <ac:chgData name="Pallavi Bothra" userId="f6f57c13-3a62-40cf-a90c-f5277fad9e73" providerId="ADAL" clId="{DB4DDA6F-E09D-4172-9A26-E38A154DDBA0}" dt="2024-01-22T10:03:05.439" v="576" actId="6549"/>
          <ac:spMkLst>
            <pc:docMk/>
            <pc:sldMk cId="1164575737" sldId="2147468991"/>
            <ac:spMk id="3" creationId="{7F305365-29CA-C7B5-6E3F-210DC60ACF6E}"/>
          </ac:spMkLst>
        </pc:spChg>
        <pc:spChg chg="mod">
          <ac:chgData name="Pallavi Bothra" userId="f6f57c13-3a62-40cf-a90c-f5277fad9e73" providerId="ADAL" clId="{DB4DDA6F-E09D-4172-9A26-E38A154DDBA0}" dt="2024-01-22T10:02:12.830" v="559"/>
          <ac:spMkLst>
            <pc:docMk/>
            <pc:sldMk cId="1164575737" sldId="2147468991"/>
            <ac:spMk id="8" creationId="{A68D5E23-72DC-7317-3E70-7D71B7BA80BC}"/>
          </ac:spMkLst>
        </pc:spChg>
        <pc:spChg chg="mod">
          <ac:chgData name="Pallavi Bothra" userId="f6f57c13-3a62-40cf-a90c-f5277fad9e73" providerId="ADAL" clId="{DB4DDA6F-E09D-4172-9A26-E38A154DDBA0}" dt="2024-01-22T10:03:18.848" v="577" actId="313"/>
          <ac:spMkLst>
            <pc:docMk/>
            <pc:sldMk cId="1164575737" sldId="2147468991"/>
            <ac:spMk id="16" creationId="{60AFD7A3-3381-BC80-1030-669AFE6D746E}"/>
          </ac:spMkLst>
        </pc:spChg>
        <pc:spChg chg="mod">
          <ac:chgData name="Pallavi Bothra" userId="f6f57c13-3a62-40cf-a90c-f5277fad9e73" providerId="ADAL" clId="{DB4DDA6F-E09D-4172-9A26-E38A154DDBA0}" dt="2024-01-22T09:59:59.816" v="536" actId="20577"/>
          <ac:spMkLst>
            <pc:docMk/>
            <pc:sldMk cId="1164575737" sldId="2147468991"/>
            <ac:spMk id="17" creationId="{9485B9F8-9806-D2FC-8CAF-164905405243}"/>
          </ac:spMkLst>
        </pc:spChg>
        <pc:spChg chg="mod">
          <ac:chgData name="Pallavi Bothra" userId="f6f57c13-3a62-40cf-a90c-f5277fad9e73" providerId="ADAL" clId="{DB4DDA6F-E09D-4172-9A26-E38A154DDBA0}" dt="2024-01-22T10:00:09.432" v="537"/>
          <ac:spMkLst>
            <pc:docMk/>
            <pc:sldMk cId="1164575737" sldId="2147468991"/>
            <ac:spMk id="19" creationId="{908584C9-8053-BAF4-2837-F31222763A77}"/>
          </ac:spMkLst>
        </pc:spChg>
        <pc:spChg chg="mod">
          <ac:chgData name="Pallavi Bothra" userId="f6f57c13-3a62-40cf-a90c-f5277fad9e73" providerId="ADAL" clId="{DB4DDA6F-E09D-4172-9A26-E38A154DDBA0}" dt="2024-01-22T10:43:57.124" v="751" actId="1076"/>
          <ac:spMkLst>
            <pc:docMk/>
            <pc:sldMk cId="1164575737" sldId="2147468991"/>
            <ac:spMk id="20" creationId="{8BC02F85-542C-62AC-AE9B-960CD2FC3FDC}"/>
          </ac:spMkLst>
        </pc:spChg>
        <pc:spChg chg="mod">
          <ac:chgData name="Pallavi Bothra" userId="f6f57c13-3a62-40cf-a90c-f5277fad9e73" providerId="ADAL" clId="{DB4DDA6F-E09D-4172-9A26-E38A154DDBA0}" dt="2024-01-22T10:00:14.734" v="538"/>
          <ac:spMkLst>
            <pc:docMk/>
            <pc:sldMk cId="1164575737" sldId="2147468991"/>
            <ac:spMk id="742" creationId="{C45ED160-274D-7D5D-6A82-81870E69F4BD}"/>
          </ac:spMkLst>
        </pc:spChg>
        <pc:spChg chg="mod">
          <ac:chgData name="Pallavi Bothra" userId="f6f57c13-3a62-40cf-a90c-f5277fad9e73" providerId="ADAL" clId="{DB4DDA6F-E09D-4172-9A26-E38A154DDBA0}" dt="2024-01-22T10:01:47.679" v="556" actId="255"/>
          <ac:spMkLst>
            <pc:docMk/>
            <pc:sldMk cId="1164575737" sldId="2147468991"/>
            <ac:spMk id="747" creationId="{42314759-16C9-2A2E-4382-7C21536611C2}"/>
          </ac:spMkLst>
        </pc:spChg>
        <pc:spChg chg="mod">
          <ac:chgData name="Pallavi Bothra" userId="f6f57c13-3a62-40cf-a90c-f5277fad9e73" providerId="ADAL" clId="{DB4DDA6F-E09D-4172-9A26-E38A154DDBA0}" dt="2024-01-22T10:02:06.478" v="558" actId="404"/>
          <ac:spMkLst>
            <pc:docMk/>
            <pc:sldMk cId="1164575737" sldId="2147468991"/>
            <ac:spMk id="748" creationId="{52A172F7-40D3-395B-CCC6-FDB8624B34C3}"/>
          </ac:spMkLst>
        </pc:spChg>
        <pc:spChg chg="mod">
          <ac:chgData name="Pallavi Bothra" userId="f6f57c13-3a62-40cf-a90c-f5277fad9e73" providerId="ADAL" clId="{DB4DDA6F-E09D-4172-9A26-E38A154DDBA0}" dt="2024-01-22T10:02:46.033" v="571" actId="404"/>
          <ac:spMkLst>
            <pc:docMk/>
            <pc:sldMk cId="1164575737" sldId="2147468991"/>
            <ac:spMk id="749" creationId="{A50E6FED-D952-EBCF-AAC5-BD6B2EFDC8C8}"/>
          </ac:spMkLst>
        </pc:spChg>
        <pc:spChg chg="mod">
          <ac:chgData name="Pallavi Bothra" userId="f6f57c13-3a62-40cf-a90c-f5277fad9e73" providerId="ADAL" clId="{DB4DDA6F-E09D-4172-9A26-E38A154DDBA0}" dt="2024-01-22T10:00:20.225" v="539"/>
          <ac:spMkLst>
            <pc:docMk/>
            <pc:sldMk cId="1164575737" sldId="2147468991"/>
            <ac:spMk id="755" creationId="{2C81BA28-BF01-1AFB-6F1B-C3A82383E1EE}"/>
          </ac:spMkLst>
        </pc:spChg>
        <pc:picChg chg="add mod">
          <ac:chgData name="Pallavi Bothra" userId="f6f57c13-3a62-40cf-a90c-f5277fad9e73" providerId="ADAL" clId="{DB4DDA6F-E09D-4172-9A26-E38A154DDBA0}" dt="2024-01-22T10:43:52.087" v="750" actId="1035"/>
          <ac:picMkLst>
            <pc:docMk/>
            <pc:sldMk cId="1164575737" sldId="2147468991"/>
            <ac:picMk id="10242" creationId="{F9B13C66-6B8E-8C01-497C-DA9D8A9847FA}"/>
          </ac:picMkLst>
        </pc:picChg>
        <pc:picChg chg="add mod">
          <ac:chgData name="Pallavi Bothra" userId="f6f57c13-3a62-40cf-a90c-f5277fad9e73" providerId="ADAL" clId="{DB4DDA6F-E09D-4172-9A26-E38A154DDBA0}" dt="2024-01-22T10:44:44.039" v="758" actId="1076"/>
          <ac:picMkLst>
            <pc:docMk/>
            <pc:sldMk cId="1164575737" sldId="2147468991"/>
            <ac:picMk id="10244" creationId="{B5105B1A-B521-8AF9-EA99-90C1CDCC8F40}"/>
          </ac:picMkLst>
        </pc:picChg>
      </pc:sldChg>
      <pc:sldChg chg="add del">
        <pc:chgData name="Pallavi Bothra" userId="f6f57c13-3a62-40cf-a90c-f5277fad9e73" providerId="ADAL" clId="{DB4DDA6F-E09D-4172-9A26-E38A154DDBA0}" dt="2024-01-22T09:19:17.707" v="86" actId="47"/>
        <pc:sldMkLst>
          <pc:docMk/>
          <pc:sldMk cId="3548086259" sldId="2147468991"/>
        </pc:sldMkLst>
      </pc:sldChg>
      <pc:sldChg chg="addSp modSp add mod">
        <pc:chgData name="Pallavi Bothra" userId="f6f57c13-3a62-40cf-a90c-f5277fad9e73" providerId="ADAL" clId="{DB4DDA6F-E09D-4172-9A26-E38A154DDBA0}" dt="2024-01-22T10:45:46.812" v="766" actId="1076"/>
        <pc:sldMkLst>
          <pc:docMk/>
          <pc:sldMk cId="1047431540" sldId="2147468992"/>
        </pc:sldMkLst>
        <pc:spChg chg="mod">
          <ac:chgData name="Pallavi Bothra" userId="f6f57c13-3a62-40cf-a90c-f5277fad9e73" providerId="ADAL" clId="{DB4DDA6F-E09D-4172-9A26-E38A154DDBA0}" dt="2024-01-22T10:05:10.477" v="605" actId="20577"/>
          <ac:spMkLst>
            <pc:docMk/>
            <pc:sldMk cId="1047431540" sldId="2147468992"/>
            <ac:spMk id="3" creationId="{7F305365-29CA-C7B5-6E3F-210DC60ACF6E}"/>
          </ac:spMkLst>
        </pc:spChg>
        <pc:spChg chg="mod">
          <ac:chgData name="Pallavi Bothra" userId="f6f57c13-3a62-40cf-a90c-f5277fad9e73" providerId="ADAL" clId="{DB4DDA6F-E09D-4172-9A26-E38A154DDBA0}" dt="2024-01-22T10:04:41.201" v="594"/>
          <ac:spMkLst>
            <pc:docMk/>
            <pc:sldMk cId="1047431540" sldId="2147468992"/>
            <ac:spMk id="8" creationId="{A68D5E23-72DC-7317-3E70-7D71B7BA80BC}"/>
          </ac:spMkLst>
        </pc:spChg>
        <pc:spChg chg="mod">
          <ac:chgData name="Pallavi Bothra" userId="f6f57c13-3a62-40cf-a90c-f5277fad9e73" providerId="ADAL" clId="{DB4DDA6F-E09D-4172-9A26-E38A154DDBA0}" dt="2024-01-22T10:22:43.149" v="608" actId="20577"/>
          <ac:spMkLst>
            <pc:docMk/>
            <pc:sldMk cId="1047431540" sldId="2147468992"/>
            <ac:spMk id="17" creationId="{9485B9F8-9806-D2FC-8CAF-164905405243}"/>
          </ac:spMkLst>
        </pc:spChg>
        <pc:spChg chg="mod">
          <ac:chgData name="Pallavi Bothra" userId="f6f57c13-3a62-40cf-a90c-f5277fad9e73" providerId="ADAL" clId="{DB4DDA6F-E09D-4172-9A26-E38A154DDBA0}" dt="2024-01-22T10:03:57.250" v="581" actId="20577"/>
          <ac:spMkLst>
            <pc:docMk/>
            <pc:sldMk cId="1047431540" sldId="2147468992"/>
            <ac:spMk id="19" creationId="{908584C9-8053-BAF4-2837-F31222763A77}"/>
          </ac:spMkLst>
        </pc:spChg>
        <pc:spChg chg="mod">
          <ac:chgData name="Pallavi Bothra" userId="f6f57c13-3a62-40cf-a90c-f5277fad9e73" providerId="ADAL" clId="{DB4DDA6F-E09D-4172-9A26-E38A154DDBA0}" dt="2024-01-22T10:04:12.209" v="583"/>
          <ac:spMkLst>
            <pc:docMk/>
            <pc:sldMk cId="1047431540" sldId="2147468992"/>
            <ac:spMk id="20" creationId="{8BC02F85-542C-62AC-AE9B-960CD2FC3FDC}"/>
          </ac:spMkLst>
        </pc:spChg>
        <pc:spChg chg="mod">
          <ac:chgData name="Pallavi Bothra" userId="f6f57c13-3a62-40cf-a90c-f5277fad9e73" providerId="ADAL" clId="{DB4DDA6F-E09D-4172-9A26-E38A154DDBA0}" dt="2024-01-22T10:04:02.703" v="582"/>
          <ac:spMkLst>
            <pc:docMk/>
            <pc:sldMk cId="1047431540" sldId="2147468992"/>
            <ac:spMk id="742" creationId="{C45ED160-274D-7D5D-6A82-81870E69F4BD}"/>
          </ac:spMkLst>
        </pc:spChg>
        <pc:spChg chg="mod">
          <ac:chgData name="Pallavi Bothra" userId="f6f57c13-3a62-40cf-a90c-f5277fad9e73" providerId="ADAL" clId="{DB4DDA6F-E09D-4172-9A26-E38A154DDBA0}" dt="2024-01-22T10:04:25.439" v="591" actId="404"/>
          <ac:spMkLst>
            <pc:docMk/>
            <pc:sldMk cId="1047431540" sldId="2147468992"/>
            <ac:spMk id="747" creationId="{42314759-16C9-2A2E-4382-7C21536611C2}"/>
          </ac:spMkLst>
        </pc:spChg>
        <pc:spChg chg="mod">
          <ac:chgData name="Pallavi Bothra" userId="f6f57c13-3a62-40cf-a90c-f5277fad9e73" providerId="ADAL" clId="{DB4DDA6F-E09D-4172-9A26-E38A154DDBA0}" dt="2024-01-22T10:04:32.554" v="593" actId="403"/>
          <ac:spMkLst>
            <pc:docMk/>
            <pc:sldMk cId="1047431540" sldId="2147468992"/>
            <ac:spMk id="748" creationId="{52A172F7-40D3-395B-CCC6-FDB8624B34C3}"/>
          </ac:spMkLst>
        </pc:spChg>
        <pc:spChg chg="mod">
          <ac:chgData name="Pallavi Bothra" userId="f6f57c13-3a62-40cf-a90c-f5277fad9e73" providerId="ADAL" clId="{DB4DDA6F-E09D-4172-9A26-E38A154DDBA0}" dt="2024-01-22T10:04:50.697" v="600" actId="403"/>
          <ac:spMkLst>
            <pc:docMk/>
            <pc:sldMk cId="1047431540" sldId="2147468992"/>
            <ac:spMk id="749" creationId="{A50E6FED-D952-EBCF-AAC5-BD6B2EFDC8C8}"/>
          </ac:spMkLst>
        </pc:spChg>
        <pc:picChg chg="add mod">
          <ac:chgData name="Pallavi Bothra" userId="f6f57c13-3a62-40cf-a90c-f5277fad9e73" providerId="ADAL" clId="{DB4DDA6F-E09D-4172-9A26-E38A154DDBA0}" dt="2024-01-22T10:45:16.443" v="761" actId="1076"/>
          <ac:picMkLst>
            <pc:docMk/>
            <pc:sldMk cId="1047431540" sldId="2147468992"/>
            <ac:picMk id="9218" creationId="{CA2F929E-857D-8238-3DBA-D7BDB8597568}"/>
          </ac:picMkLst>
        </pc:picChg>
        <pc:picChg chg="add mod">
          <ac:chgData name="Pallavi Bothra" userId="f6f57c13-3a62-40cf-a90c-f5277fad9e73" providerId="ADAL" clId="{DB4DDA6F-E09D-4172-9A26-E38A154DDBA0}" dt="2024-01-22T10:45:46.812" v="766" actId="1076"/>
          <ac:picMkLst>
            <pc:docMk/>
            <pc:sldMk cId="1047431540" sldId="2147468992"/>
            <ac:picMk id="9220" creationId="{9E1E6F0D-573B-7761-8E4E-F4433EDD5ECA}"/>
          </ac:picMkLst>
        </pc:picChg>
      </pc:sldChg>
      <pc:sldChg chg="add del">
        <pc:chgData name="Pallavi Bothra" userId="f6f57c13-3a62-40cf-a90c-f5277fad9e73" providerId="ADAL" clId="{DB4DDA6F-E09D-4172-9A26-E38A154DDBA0}" dt="2024-01-22T09:19:17.707" v="86" actId="47"/>
        <pc:sldMkLst>
          <pc:docMk/>
          <pc:sldMk cId="2961010476" sldId="2147468992"/>
        </pc:sldMkLst>
      </pc:sldChg>
      <pc:sldChg chg="add del">
        <pc:chgData name="Pallavi Bothra" userId="f6f57c13-3a62-40cf-a90c-f5277fad9e73" providerId="ADAL" clId="{DB4DDA6F-E09D-4172-9A26-E38A154DDBA0}" dt="2024-01-22T09:19:17.707" v="86" actId="47"/>
        <pc:sldMkLst>
          <pc:docMk/>
          <pc:sldMk cId="2022876187" sldId="2147468993"/>
        </pc:sldMkLst>
      </pc:sldChg>
      <pc:sldChg chg="addSp delSp modSp add mod">
        <pc:chgData name="Pallavi Bothra" userId="f6f57c13-3a62-40cf-a90c-f5277fad9e73" providerId="ADAL" clId="{DB4DDA6F-E09D-4172-9A26-E38A154DDBA0}" dt="2024-01-22T11:22:37.443" v="916" actId="14100"/>
        <pc:sldMkLst>
          <pc:docMk/>
          <pc:sldMk cId="4134371134" sldId="2147468993"/>
        </pc:sldMkLst>
        <pc:spChg chg="mod">
          <ac:chgData name="Pallavi Bothra" userId="f6f57c13-3a62-40cf-a90c-f5277fad9e73" providerId="ADAL" clId="{DB4DDA6F-E09D-4172-9A26-E38A154DDBA0}" dt="2024-01-22T11:22:31.203" v="915" actId="1038"/>
          <ac:spMkLst>
            <pc:docMk/>
            <pc:sldMk cId="4134371134" sldId="2147468993"/>
            <ac:spMk id="2" creationId="{8C275B1D-3497-1C2D-A937-151608D42AD5}"/>
          </ac:spMkLst>
        </pc:spChg>
        <pc:spChg chg="mod">
          <ac:chgData name="Pallavi Bothra" userId="f6f57c13-3a62-40cf-a90c-f5277fad9e73" providerId="ADAL" clId="{DB4DDA6F-E09D-4172-9A26-E38A154DDBA0}" dt="2024-01-22T10:25:11.888" v="650" actId="20577"/>
          <ac:spMkLst>
            <pc:docMk/>
            <pc:sldMk cId="4134371134" sldId="2147468993"/>
            <ac:spMk id="3" creationId="{7F305365-29CA-C7B5-6E3F-210DC60ACF6E}"/>
          </ac:spMkLst>
        </pc:spChg>
        <pc:spChg chg="mod">
          <ac:chgData name="Pallavi Bothra" userId="f6f57c13-3a62-40cf-a90c-f5277fad9e73" providerId="ADAL" clId="{DB4DDA6F-E09D-4172-9A26-E38A154DDBA0}" dt="2024-01-22T10:23:42.940" v="615"/>
          <ac:spMkLst>
            <pc:docMk/>
            <pc:sldMk cId="4134371134" sldId="2147468993"/>
            <ac:spMk id="5" creationId="{A8C94439-AB1F-C277-A8E0-41468A768E62}"/>
          </ac:spMkLst>
        </pc:spChg>
        <pc:spChg chg="mod">
          <ac:chgData name="Pallavi Bothra" userId="f6f57c13-3a62-40cf-a90c-f5277fad9e73" providerId="ADAL" clId="{DB4DDA6F-E09D-4172-9A26-E38A154DDBA0}" dt="2024-01-22T10:24:42.754" v="641"/>
          <ac:spMkLst>
            <pc:docMk/>
            <pc:sldMk cId="4134371134" sldId="2147468993"/>
            <ac:spMk id="8" creationId="{A68D5E23-72DC-7317-3E70-7D71B7BA80BC}"/>
          </ac:spMkLst>
        </pc:spChg>
        <pc:spChg chg="mod">
          <ac:chgData name="Pallavi Bothra" userId="f6f57c13-3a62-40cf-a90c-f5277fad9e73" providerId="ADAL" clId="{DB4DDA6F-E09D-4172-9A26-E38A154DDBA0}" dt="2024-01-22T10:23:58.781" v="627" actId="20577"/>
          <ac:spMkLst>
            <pc:docMk/>
            <pc:sldMk cId="4134371134" sldId="2147468993"/>
            <ac:spMk id="9" creationId="{655A6175-6E74-01BE-C97E-280A846753DD}"/>
          </ac:spMkLst>
        </pc:spChg>
        <pc:spChg chg="mod">
          <ac:chgData name="Pallavi Bothra" userId="f6f57c13-3a62-40cf-a90c-f5277fad9e73" providerId="ADAL" clId="{DB4DDA6F-E09D-4172-9A26-E38A154DDBA0}" dt="2024-01-22T10:23:52.870" v="621" actId="20577"/>
          <ac:spMkLst>
            <pc:docMk/>
            <pc:sldMk cId="4134371134" sldId="2147468993"/>
            <ac:spMk id="11" creationId="{707C5A75-ED52-D606-7AC4-959202D8012F}"/>
          </ac:spMkLst>
        </pc:spChg>
        <pc:spChg chg="mod">
          <ac:chgData name="Pallavi Bothra" userId="f6f57c13-3a62-40cf-a90c-f5277fad9e73" providerId="ADAL" clId="{DB4DDA6F-E09D-4172-9A26-E38A154DDBA0}" dt="2024-01-22T10:23:23.485" v="613"/>
          <ac:spMkLst>
            <pc:docMk/>
            <pc:sldMk cId="4134371134" sldId="2147468993"/>
            <ac:spMk id="16" creationId="{60AFD7A3-3381-BC80-1030-669AFE6D746E}"/>
          </ac:spMkLst>
        </pc:spChg>
        <pc:spChg chg="mod">
          <ac:chgData name="Pallavi Bothra" userId="f6f57c13-3a62-40cf-a90c-f5277fad9e73" providerId="ADAL" clId="{DB4DDA6F-E09D-4172-9A26-E38A154DDBA0}" dt="2024-01-22T10:22:47.543" v="610" actId="20577"/>
          <ac:spMkLst>
            <pc:docMk/>
            <pc:sldMk cId="4134371134" sldId="2147468993"/>
            <ac:spMk id="17" creationId="{9485B9F8-9806-D2FC-8CAF-164905405243}"/>
          </ac:spMkLst>
        </pc:spChg>
        <pc:spChg chg="mod">
          <ac:chgData name="Pallavi Bothra" userId="f6f57c13-3a62-40cf-a90c-f5277fad9e73" providerId="ADAL" clId="{DB4DDA6F-E09D-4172-9A26-E38A154DDBA0}" dt="2024-01-22T11:22:31.203" v="915" actId="1038"/>
          <ac:spMkLst>
            <pc:docMk/>
            <pc:sldMk cId="4134371134" sldId="2147468993"/>
            <ac:spMk id="19" creationId="{908584C9-8053-BAF4-2837-F31222763A77}"/>
          </ac:spMkLst>
        </pc:spChg>
        <pc:spChg chg="del mod">
          <ac:chgData name="Pallavi Bothra" userId="f6f57c13-3a62-40cf-a90c-f5277fad9e73" providerId="ADAL" clId="{DB4DDA6F-E09D-4172-9A26-E38A154DDBA0}" dt="2024-01-22T11:22:19.570" v="872" actId="478"/>
          <ac:spMkLst>
            <pc:docMk/>
            <pc:sldMk cId="4134371134" sldId="2147468993"/>
            <ac:spMk id="20" creationId="{8BC02F85-542C-62AC-AE9B-960CD2FC3FDC}"/>
          </ac:spMkLst>
        </pc:spChg>
        <pc:spChg chg="mod">
          <ac:chgData name="Pallavi Bothra" userId="f6f57c13-3a62-40cf-a90c-f5277fad9e73" providerId="ADAL" clId="{DB4DDA6F-E09D-4172-9A26-E38A154DDBA0}" dt="2024-01-22T10:23:12.194" v="612"/>
          <ac:spMkLst>
            <pc:docMk/>
            <pc:sldMk cId="4134371134" sldId="2147468993"/>
            <ac:spMk id="742" creationId="{C45ED160-274D-7D5D-6A82-81870E69F4BD}"/>
          </ac:spMkLst>
        </pc:spChg>
        <pc:spChg chg="mod">
          <ac:chgData name="Pallavi Bothra" userId="f6f57c13-3a62-40cf-a90c-f5277fad9e73" providerId="ADAL" clId="{DB4DDA6F-E09D-4172-9A26-E38A154DDBA0}" dt="2024-01-22T10:24:20.652" v="635" actId="20577"/>
          <ac:spMkLst>
            <pc:docMk/>
            <pc:sldMk cId="4134371134" sldId="2147468993"/>
            <ac:spMk id="747" creationId="{42314759-16C9-2A2E-4382-7C21536611C2}"/>
          </ac:spMkLst>
        </pc:spChg>
        <pc:spChg chg="mod">
          <ac:chgData name="Pallavi Bothra" userId="f6f57c13-3a62-40cf-a90c-f5277fad9e73" providerId="ADAL" clId="{DB4DDA6F-E09D-4172-9A26-E38A154DDBA0}" dt="2024-01-22T10:29:37.605" v="710" actId="403"/>
          <ac:spMkLst>
            <pc:docMk/>
            <pc:sldMk cId="4134371134" sldId="2147468993"/>
            <ac:spMk id="748" creationId="{52A172F7-40D3-395B-CCC6-FDB8624B34C3}"/>
          </ac:spMkLst>
        </pc:spChg>
        <pc:spChg chg="mod">
          <ac:chgData name="Pallavi Bothra" userId="f6f57c13-3a62-40cf-a90c-f5277fad9e73" providerId="ADAL" clId="{DB4DDA6F-E09D-4172-9A26-E38A154DDBA0}" dt="2024-01-22T10:24:49.143" v="642"/>
          <ac:spMkLst>
            <pc:docMk/>
            <pc:sldMk cId="4134371134" sldId="2147468993"/>
            <ac:spMk id="749" creationId="{A50E6FED-D952-EBCF-AAC5-BD6B2EFDC8C8}"/>
          </ac:spMkLst>
        </pc:spChg>
        <pc:spChg chg="del">
          <ac:chgData name="Pallavi Bothra" userId="f6f57c13-3a62-40cf-a90c-f5277fad9e73" providerId="ADAL" clId="{DB4DDA6F-E09D-4172-9A26-E38A154DDBA0}" dt="2024-01-22T11:22:21.720" v="873" actId="478"/>
          <ac:spMkLst>
            <pc:docMk/>
            <pc:sldMk cId="4134371134" sldId="2147468993"/>
            <ac:spMk id="751" creationId="{3D178A78-CD9B-9B57-381E-6C79E4F668FB}"/>
          </ac:spMkLst>
        </pc:spChg>
        <pc:picChg chg="del">
          <ac:chgData name="Pallavi Bothra" userId="f6f57c13-3a62-40cf-a90c-f5277fad9e73" providerId="ADAL" clId="{DB4DDA6F-E09D-4172-9A26-E38A154DDBA0}" dt="2024-01-22T11:22:23.331" v="874" actId="478"/>
          <ac:picMkLst>
            <pc:docMk/>
            <pc:sldMk cId="4134371134" sldId="2147468993"/>
            <ac:picMk id="767" creationId="{29D670B7-BDA2-A0FF-14C5-B1BDE284D8EE}"/>
          </ac:picMkLst>
        </pc:picChg>
        <pc:picChg chg="add mod">
          <ac:chgData name="Pallavi Bothra" userId="f6f57c13-3a62-40cf-a90c-f5277fad9e73" providerId="ADAL" clId="{DB4DDA6F-E09D-4172-9A26-E38A154DDBA0}" dt="2024-01-22T11:22:37.443" v="916" actId="14100"/>
          <ac:picMkLst>
            <pc:docMk/>
            <pc:sldMk cId="4134371134" sldId="2147468993"/>
            <ac:picMk id="8194" creationId="{518EE5FB-4050-6418-55BD-8603A547AA53}"/>
          </ac:picMkLst>
        </pc:picChg>
      </pc:sldChg>
      <pc:sldChg chg="addSp modSp add mod">
        <pc:chgData name="Pallavi Bothra" userId="f6f57c13-3a62-40cf-a90c-f5277fad9e73" providerId="ADAL" clId="{DB4DDA6F-E09D-4172-9A26-E38A154DDBA0}" dt="2024-01-22T10:55:45.371" v="851" actId="1076"/>
        <pc:sldMkLst>
          <pc:docMk/>
          <pc:sldMk cId="3270186393" sldId="2147468994"/>
        </pc:sldMkLst>
        <pc:spChg chg="mod">
          <ac:chgData name="Pallavi Bothra" userId="f6f57c13-3a62-40cf-a90c-f5277fad9e73" providerId="ADAL" clId="{DB4DDA6F-E09D-4172-9A26-E38A154DDBA0}" dt="2024-01-22T10:29:08.105" v="703" actId="20577"/>
          <ac:spMkLst>
            <pc:docMk/>
            <pc:sldMk cId="3270186393" sldId="2147468994"/>
            <ac:spMk id="3" creationId="{7F305365-29CA-C7B5-6E3F-210DC60ACF6E}"/>
          </ac:spMkLst>
        </pc:spChg>
        <pc:spChg chg="mod">
          <ac:chgData name="Pallavi Bothra" userId="f6f57c13-3a62-40cf-a90c-f5277fad9e73" providerId="ADAL" clId="{DB4DDA6F-E09D-4172-9A26-E38A154DDBA0}" dt="2024-01-22T10:28:13.718" v="681"/>
          <ac:spMkLst>
            <pc:docMk/>
            <pc:sldMk cId="3270186393" sldId="2147468994"/>
            <ac:spMk id="5" creationId="{A8C94439-AB1F-C277-A8E0-41468A768E62}"/>
          </ac:spMkLst>
        </pc:spChg>
        <pc:spChg chg="mod">
          <ac:chgData name="Pallavi Bothra" userId="f6f57c13-3a62-40cf-a90c-f5277fad9e73" providerId="ADAL" clId="{DB4DDA6F-E09D-4172-9A26-E38A154DDBA0}" dt="2024-01-22T10:28:43.994" v="695"/>
          <ac:spMkLst>
            <pc:docMk/>
            <pc:sldMk cId="3270186393" sldId="2147468994"/>
            <ac:spMk id="8" creationId="{A68D5E23-72DC-7317-3E70-7D71B7BA80BC}"/>
          </ac:spMkLst>
        </pc:spChg>
        <pc:spChg chg="mod">
          <ac:chgData name="Pallavi Bothra" userId="f6f57c13-3a62-40cf-a90c-f5277fad9e73" providerId="ADAL" clId="{DB4DDA6F-E09D-4172-9A26-E38A154DDBA0}" dt="2024-01-22T10:28:20.692" v="687" actId="20577"/>
          <ac:spMkLst>
            <pc:docMk/>
            <pc:sldMk cId="3270186393" sldId="2147468994"/>
            <ac:spMk id="9" creationId="{655A6175-6E74-01BE-C97E-280A846753DD}"/>
          </ac:spMkLst>
        </pc:spChg>
        <pc:spChg chg="mod">
          <ac:chgData name="Pallavi Bothra" userId="f6f57c13-3a62-40cf-a90c-f5277fad9e73" providerId="ADAL" clId="{DB4DDA6F-E09D-4172-9A26-E38A154DDBA0}" dt="2024-01-22T10:28:24.823" v="692" actId="20577"/>
          <ac:spMkLst>
            <pc:docMk/>
            <pc:sldMk cId="3270186393" sldId="2147468994"/>
            <ac:spMk id="11" creationId="{707C5A75-ED52-D606-7AC4-959202D8012F}"/>
          </ac:spMkLst>
        </pc:spChg>
        <pc:spChg chg="mod">
          <ac:chgData name="Pallavi Bothra" userId="f6f57c13-3a62-40cf-a90c-f5277fad9e73" providerId="ADAL" clId="{DB4DDA6F-E09D-4172-9A26-E38A154DDBA0}" dt="2024-01-22T10:28:00.748" v="679"/>
          <ac:spMkLst>
            <pc:docMk/>
            <pc:sldMk cId="3270186393" sldId="2147468994"/>
            <ac:spMk id="16" creationId="{60AFD7A3-3381-BC80-1030-669AFE6D746E}"/>
          </ac:spMkLst>
        </pc:spChg>
        <pc:spChg chg="mod">
          <ac:chgData name="Pallavi Bothra" userId="f6f57c13-3a62-40cf-a90c-f5277fad9e73" providerId="ADAL" clId="{DB4DDA6F-E09D-4172-9A26-E38A154DDBA0}" dt="2024-01-22T10:27:43.072" v="676" actId="20577"/>
          <ac:spMkLst>
            <pc:docMk/>
            <pc:sldMk cId="3270186393" sldId="2147468994"/>
            <ac:spMk id="17" creationId="{9485B9F8-9806-D2FC-8CAF-164905405243}"/>
          </ac:spMkLst>
        </pc:spChg>
        <pc:spChg chg="mod">
          <ac:chgData name="Pallavi Bothra" userId="f6f57c13-3a62-40cf-a90c-f5277fad9e73" providerId="ADAL" clId="{DB4DDA6F-E09D-4172-9A26-E38A154DDBA0}" dt="2024-01-22T10:55:12.924" v="844"/>
          <ac:spMkLst>
            <pc:docMk/>
            <pc:sldMk cId="3270186393" sldId="2147468994"/>
            <ac:spMk id="19" creationId="{908584C9-8053-BAF4-2837-F31222763A77}"/>
          </ac:spMkLst>
        </pc:spChg>
        <pc:spChg chg="mod">
          <ac:chgData name="Pallavi Bothra" userId="f6f57c13-3a62-40cf-a90c-f5277fad9e73" providerId="ADAL" clId="{DB4DDA6F-E09D-4172-9A26-E38A154DDBA0}" dt="2024-01-22T10:52:06.200" v="841" actId="1076"/>
          <ac:spMkLst>
            <pc:docMk/>
            <pc:sldMk cId="3270186393" sldId="2147468994"/>
            <ac:spMk id="20" creationId="{8BC02F85-542C-62AC-AE9B-960CD2FC3FDC}"/>
          </ac:spMkLst>
        </pc:spChg>
        <pc:spChg chg="mod">
          <ac:chgData name="Pallavi Bothra" userId="f6f57c13-3a62-40cf-a90c-f5277fad9e73" providerId="ADAL" clId="{DB4DDA6F-E09D-4172-9A26-E38A154DDBA0}" dt="2024-01-22T10:27:54.023" v="678"/>
          <ac:spMkLst>
            <pc:docMk/>
            <pc:sldMk cId="3270186393" sldId="2147468994"/>
            <ac:spMk id="742" creationId="{C45ED160-274D-7D5D-6A82-81870E69F4BD}"/>
          </ac:spMkLst>
        </pc:spChg>
        <pc:spChg chg="mod">
          <ac:chgData name="Pallavi Bothra" userId="f6f57c13-3a62-40cf-a90c-f5277fad9e73" providerId="ADAL" clId="{DB4DDA6F-E09D-4172-9A26-E38A154DDBA0}" dt="2024-01-22T10:28:30.905" v="693"/>
          <ac:spMkLst>
            <pc:docMk/>
            <pc:sldMk cId="3270186393" sldId="2147468994"/>
            <ac:spMk id="747" creationId="{42314759-16C9-2A2E-4382-7C21536611C2}"/>
          </ac:spMkLst>
        </pc:spChg>
        <pc:spChg chg="mod">
          <ac:chgData name="Pallavi Bothra" userId="f6f57c13-3a62-40cf-a90c-f5277fad9e73" providerId="ADAL" clId="{DB4DDA6F-E09D-4172-9A26-E38A154DDBA0}" dt="2024-01-22T10:28:37.575" v="694"/>
          <ac:spMkLst>
            <pc:docMk/>
            <pc:sldMk cId="3270186393" sldId="2147468994"/>
            <ac:spMk id="748" creationId="{52A172F7-40D3-395B-CCC6-FDB8624B34C3}"/>
          </ac:spMkLst>
        </pc:spChg>
        <pc:spChg chg="mod">
          <ac:chgData name="Pallavi Bothra" userId="f6f57c13-3a62-40cf-a90c-f5277fad9e73" providerId="ADAL" clId="{DB4DDA6F-E09D-4172-9A26-E38A154DDBA0}" dt="2024-01-22T10:28:50.520" v="696"/>
          <ac:spMkLst>
            <pc:docMk/>
            <pc:sldMk cId="3270186393" sldId="2147468994"/>
            <ac:spMk id="749" creationId="{A50E6FED-D952-EBCF-AAC5-BD6B2EFDC8C8}"/>
          </ac:spMkLst>
        </pc:spChg>
        <pc:spChg chg="mod">
          <ac:chgData name="Pallavi Bothra" userId="f6f57c13-3a62-40cf-a90c-f5277fad9e73" providerId="ADAL" clId="{DB4DDA6F-E09D-4172-9A26-E38A154DDBA0}" dt="2024-01-22T10:26:20.269" v="656"/>
          <ac:spMkLst>
            <pc:docMk/>
            <pc:sldMk cId="3270186393" sldId="2147468994"/>
            <ac:spMk id="755" creationId="{2C81BA28-BF01-1AFB-6F1B-C3A82383E1EE}"/>
          </ac:spMkLst>
        </pc:spChg>
        <pc:picChg chg="add mod">
          <ac:chgData name="Pallavi Bothra" userId="f6f57c13-3a62-40cf-a90c-f5277fad9e73" providerId="ADAL" clId="{DB4DDA6F-E09D-4172-9A26-E38A154DDBA0}" dt="2024-01-22T10:52:08.578" v="843" actId="1036"/>
          <ac:picMkLst>
            <pc:docMk/>
            <pc:sldMk cId="3270186393" sldId="2147468994"/>
            <ac:picMk id="12" creationId="{2148F2A1-6DFF-BBCB-90D3-3EB9969830FC}"/>
          </ac:picMkLst>
        </pc:picChg>
        <pc:picChg chg="add mod">
          <ac:chgData name="Pallavi Bothra" userId="f6f57c13-3a62-40cf-a90c-f5277fad9e73" providerId="ADAL" clId="{DB4DDA6F-E09D-4172-9A26-E38A154DDBA0}" dt="2024-01-22T10:55:45.371" v="851" actId="1076"/>
          <ac:picMkLst>
            <pc:docMk/>
            <pc:sldMk cId="3270186393" sldId="2147468994"/>
            <ac:picMk id="7170" creationId="{1DAB76C7-8EDF-9CFA-B186-25B5A0BE7E7E}"/>
          </ac:picMkLst>
        </pc:picChg>
      </pc:sldChg>
      <pc:sldChg chg="add del">
        <pc:chgData name="Pallavi Bothra" userId="f6f57c13-3a62-40cf-a90c-f5277fad9e73" providerId="ADAL" clId="{DB4DDA6F-E09D-4172-9A26-E38A154DDBA0}" dt="2024-01-22T09:19:17.707" v="86" actId="47"/>
        <pc:sldMkLst>
          <pc:docMk/>
          <pc:sldMk cId="3403221210" sldId="2147468994"/>
        </pc:sldMkLst>
      </pc:sldChg>
      <pc:sldChg chg="add del">
        <pc:chgData name="Pallavi Bothra" userId="f6f57c13-3a62-40cf-a90c-f5277fad9e73" providerId="ADAL" clId="{DB4DDA6F-E09D-4172-9A26-E38A154DDBA0}" dt="2024-01-22T09:19:17.707" v="86" actId="47"/>
        <pc:sldMkLst>
          <pc:docMk/>
          <pc:sldMk cId="983231172" sldId="2147468995"/>
        </pc:sldMkLst>
      </pc:sldChg>
      <pc:sldChg chg="addSp modSp add mod ord">
        <pc:chgData name="Pallavi Bothra" userId="f6f57c13-3a62-40cf-a90c-f5277fad9e73" providerId="ADAL" clId="{DB4DDA6F-E09D-4172-9A26-E38A154DDBA0}" dt="2024-01-22T10:51:31.426" v="837" actId="1036"/>
        <pc:sldMkLst>
          <pc:docMk/>
          <pc:sldMk cId="2079691992" sldId="2147468995"/>
        </pc:sldMkLst>
        <pc:spChg chg="mod">
          <ac:chgData name="Pallavi Bothra" userId="f6f57c13-3a62-40cf-a90c-f5277fad9e73" providerId="ADAL" clId="{DB4DDA6F-E09D-4172-9A26-E38A154DDBA0}" dt="2024-01-22T10:47:28.909" v="784" actId="1076"/>
          <ac:spMkLst>
            <pc:docMk/>
            <pc:sldMk cId="2079691992" sldId="2147468995"/>
            <ac:spMk id="19" creationId="{908584C9-8053-BAF4-2837-F31222763A77}"/>
          </ac:spMkLst>
        </pc:spChg>
        <pc:spChg chg="mod">
          <ac:chgData name="Pallavi Bothra" userId="f6f57c13-3a62-40cf-a90c-f5277fad9e73" providerId="ADAL" clId="{DB4DDA6F-E09D-4172-9A26-E38A154DDBA0}" dt="2024-01-22T10:51:21.147" v="822" actId="1035"/>
          <ac:spMkLst>
            <pc:docMk/>
            <pc:sldMk cId="2079691992" sldId="2147468995"/>
            <ac:spMk id="20" creationId="{8BC02F85-542C-62AC-AE9B-960CD2FC3FDC}"/>
          </ac:spMkLst>
        </pc:spChg>
        <pc:picChg chg="add mod">
          <ac:chgData name="Pallavi Bothra" userId="f6f57c13-3a62-40cf-a90c-f5277fad9e73" providerId="ADAL" clId="{DB4DDA6F-E09D-4172-9A26-E38A154DDBA0}" dt="2024-01-22T10:51:28.426" v="836" actId="1036"/>
          <ac:picMkLst>
            <pc:docMk/>
            <pc:sldMk cId="2079691992" sldId="2147468995"/>
            <ac:picMk id="12" creationId="{4DA65A0B-54D7-908A-5E0B-2DB576925022}"/>
          </ac:picMkLst>
        </pc:picChg>
        <pc:picChg chg="add mod">
          <ac:chgData name="Pallavi Bothra" userId="f6f57c13-3a62-40cf-a90c-f5277fad9e73" providerId="ADAL" clId="{DB4DDA6F-E09D-4172-9A26-E38A154DDBA0}" dt="2024-01-22T10:47:24.027" v="783" actId="1076"/>
          <ac:picMkLst>
            <pc:docMk/>
            <pc:sldMk cId="2079691992" sldId="2147468995"/>
            <ac:picMk id="6146" creationId="{F3D1D66C-D7DA-06D3-2467-D4AD4CEF54AD}"/>
          </ac:picMkLst>
        </pc:picChg>
        <pc:picChg chg="add mod">
          <ac:chgData name="Pallavi Bothra" userId="f6f57c13-3a62-40cf-a90c-f5277fad9e73" providerId="ADAL" clId="{DB4DDA6F-E09D-4172-9A26-E38A154DDBA0}" dt="2024-01-22T10:51:31.426" v="837" actId="1036"/>
          <ac:picMkLst>
            <pc:docMk/>
            <pc:sldMk cId="2079691992" sldId="2147468995"/>
            <ac:picMk id="6148" creationId="{70181D42-5608-0351-F8F5-69B745B5E5DD}"/>
          </ac:picMkLst>
        </pc:picChg>
        <pc:picChg chg="add mod">
          <ac:chgData name="Pallavi Bothra" userId="f6f57c13-3a62-40cf-a90c-f5277fad9e73" providerId="ADAL" clId="{DB4DDA6F-E09D-4172-9A26-E38A154DDBA0}" dt="2024-01-22T10:51:24.455" v="831" actId="1036"/>
          <ac:picMkLst>
            <pc:docMk/>
            <pc:sldMk cId="2079691992" sldId="2147468995"/>
            <ac:picMk id="6150" creationId="{B4ED68CA-0883-0AE6-2412-55A5E9D573FA}"/>
          </ac:picMkLst>
        </pc:picChg>
      </pc:sldChg>
      <pc:sldChg chg="addSp modSp add mod">
        <pc:chgData name="Pallavi Bothra" userId="f6f57c13-3a62-40cf-a90c-f5277fad9e73" providerId="ADAL" clId="{DB4DDA6F-E09D-4172-9A26-E38A154DDBA0}" dt="2024-01-22T10:56:36.110" v="857" actId="1076"/>
        <pc:sldMkLst>
          <pc:docMk/>
          <pc:sldMk cId="2009897522" sldId="2147468996"/>
        </pc:sldMkLst>
        <pc:spChg chg="mod">
          <ac:chgData name="Pallavi Bothra" userId="f6f57c13-3a62-40cf-a90c-f5277fad9e73" providerId="ADAL" clId="{DB4DDA6F-E09D-4172-9A26-E38A154DDBA0}" dt="2024-01-22T10:31:26.164" v="722" actId="20577"/>
          <ac:spMkLst>
            <pc:docMk/>
            <pc:sldMk cId="2009897522" sldId="2147468996"/>
            <ac:spMk id="3" creationId="{7F305365-29CA-C7B5-6E3F-210DC60ACF6E}"/>
          </ac:spMkLst>
        </pc:spChg>
        <pc:spChg chg="mod">
          <ac:chgData name="Pallavi Bothra" userId="f6f57c13-3a62-40cf-a90c-f5277fad9e73" providerId="ADAL" clId="{DB4DDA6F-E09D-4172-9A26-E38A154DDBA0}" dt="2024-01-22T10:31:02.320" v="717"/>
          <ac:spMkLst>
            <pc:docMk/>
            <pc:sldMk cId="2009897522" sldId="2147468996"/>
            <ac:spMk id="8" creationId="{A68D5E23-72DC-7317-3E70-7D71B7BA80BC}"/>
          </ac:spMkLst>
        </pc:spChg>
        <pc:spChg chg="mod">
          <ac:chgData name="Pallavi Bothra" userId="f6f57c13-3a62-40cf-a90c-f5277fad9e73" providerId="ADAL" clId="{DB4DDA6F-E09D-4172-9A26-E38A154DDBA0}" dt="2024-01-22T10:30:31.109" v="714"/>
          <ac:spMkLst>
            <pc:docMk/>
            <pc:sldMk cId="2009897522" sldId="2147468996"/>
            <ac:spMk id="16" creationId="{60AFD7A3-3381-BC80-1030-669AFE6D746E}"/>
          </ac:spMkLst>
        </pc:spChg>
        <pc:spChg chg="mod">
          <ac:chgData name="Pallavi Bothra" userId="f6f57c13-3a62-40cf-a90c-f5277fad9e73" providerId="ADAL" clId="{DB4DDA6F-E09D-4172-9A26-E38A154DDBA0}" dt="2024-01-22T10:31:32.646" v="724" actId="20577"/>
          <ac:spMkLst>
            <pc:docMk/>
            <pc:sldMk cId="2009897522" sldId="2147468996"/>
            <ac:spMk id="17" creationId="{9485B9F8-9806-D2FC-8CAF-164905405243}"/>
          </ac:spMkLst>
        </pc:spChg>
        <pc:spChg chg="mod">
          <ac:chgData name="Pallavi Bothra" userId="f6f57c13-3a62-40cf-a90c-f5277fad9e73" providerId="ADAL" clId="{DB4DDA6F-E09D-4172-9A26-E38A154DDBA0}" dt="2024-01-22T10:56:36.110" v="857" actId="1076"/>
          <ac:spMkLst>
            <pc:docMk/>
            <pc:sldMk cId="2009897522" sldId="2147468996"/>
            <ac:spMk id="19" creationId="{908584C9-8053-BAF4-2837-F31222763A77}"/>
          </ac:spMkLst>
        </pc:spChg>
        <pc:spChg chg="mod">
          <ac:chgData name="Pallavi Bothra" userId="f6f57c13-3a62-40cf-a90c-f5277fad9e73" providerId="ADAL" clId="{DB4DDA6F-E09D-4172-9A26-E38A154DDBA0}" dt="2024-01-22T10:51:56.733" v="840" actId="1076"/>
          <ac:spMkLst>
            <pc:docMk/>
            <pc:sldMk cId="2009897522" sldId="2147468996"/>
            <ac:spMk id="20" creationId="{8BC02F85-542C-62AC-AE9B-960CD2FC3FDC}"/>
          </ac:spMkLst>
        </pc:spChg>
        <pc:spChg chg="mod">
          <ac:chgData name="Pallavi Bothra" userId="f6f57c13-3a62-40cf-a90c-f5277fad9e73" providerId="ADAL" clId="{DB4DDA6F-E09D-4172-9A26-E38A154DDBA0}" dt="2024-01-22T10:30:24.720" v="713"/>
          <ac:spMkLst>
            <pc:docMk/>
            <pc:sldMk cId="2009897522" sldId="2147468996"/>
            <ac:spMk id="742" creationId="{C45ED160-274D-7D5D-6A82-81870E69F4BD}"/>
          </ac:spMkLst>
        </pc:spChg>
        <pc:spChg chg="mod">
          <ac:chgData name="Pallavi Bothra" userId="f6f57c13-3a62-40cf-a90c-f5277fad9e73" providerId="ADAL" clId="{DB4DDA6F-E09D-4172-9A26-E38A154DDBA0}" dt="2024-01-22T10:30:44" v="715"/>
          <ac:spMkLst>
            <pc:docMk/>
            <pc:sldMk cId="2009897522" sldId="2147468996"/>
            <ac:spMk id="747" creationId="{42314759-16C9-2A2E-4382-7C21536611C2}"/>
          </ac:spMkLst>
        </pc:spChg>
        <pc:spChg chg="mod">
          <ac:chgData name="Pallavi Bothra" userId="f6f57c13-3a62-40cf-a90c-f5277fad9e73" providerId="ADAL" clId="{DB4DDA6F-E09D-4172-9A26-E38A154DDBA0}" dt="2024-01-22T10:30:49.425" v="716"/>
          <ac:spMkLst>
            <pc:docMk/>
            <pc:sldMk cId="2009897522" sldId="2147468996"/>
            <ac:spMk id="748" creationId="{52A172F7-40D3-395B-CCC6-FDB8624B34C3}"/>
          </ac:spMkLst>
        </pc:spChg>
        <pc:spChg chg="mod">
          <ac:chgData name="Pallavi Bothra" userId="f6f57c13-3a62-40cf-a90c-f5277fad9e73" providerId="ADAL" clId="{DB4DDA6F-E09D-4172-9A26-E38A154DDBA0}" dt="2024-01-22T10:31:08.572" v="718"/>
          <ac:spMkLst>
            <pc:docMk/>
            <pc:sldMk cId="2009897522" sldId="2147468996"/>
            <ac:spMk id="749" creationId="{A50E6FED-D952-EBCF-AAC5-BD6B2EFDC8C8}"/>
          </ac:spMkLst>
        </pc:spChg>
        <pc:picChg chg="add mod">
          <ac:chgData name="Pallavi Bothra" userId="f6f57c13-3a62-40cf-a90c-f5277fad9e73" providerId="ADAL" clId="{DB4DDA6F-E09D-4172-9A26-E38A154DDBA0}" dt="2024-01-22T10:51:50.161" v="839"/>
          <ac:picMkLst>
            <pc:docMk/>
            <pc:sldMk cId="2009897522" sldId="2147468996"/>
            <ac:picMk id="12" creationId="{0D06FF75-3E4E-3AD8-E2A3-04323BD134E2}"/>
          </ac:picMkLst>
        </pc:picChg>
        <pc:picChg chg="add mod">
          <ac:chgData name="Pallavi Bothra" userId="f6f57c13-3a62-40cf-a90c-f5277fad9e73" providerId="ADAL" clId="{DB4DDA6F-E09D-4172-9A26-E38A154DDBA0}" dt="2024-01-22T10:56:29.036" v="856" actId="1076"/>
          <ac:picMkLst>
            <pc:docMk/>
            <pc:sldMk cId="2009897522" sldId="2147468996"/>
            <ac:picMk id="5122" creationId="{FB0ADACE-765C-0BE0-0E9A-5E2BABE781EE}"/>
          </ac:picMkLst>
        </pc:picChg>
      </pc:sldChg>
      <pc:sldChg chg="add del">
        <pc:chgData name="Pallavi Bothra" userId="f6f57c13-3a62-40cf-a90c-f5277fad9e73" providerId="ADAL" clId="{DB4DDA6F-E09D-4172-9A26-E38A154DDBA0}" dt="2024-01-22T09:19:17.707" v="86" actId="47"/>
        <pc:sldMkLst>
          <pc:docMk/>
          <pc:sldMk cId="4280489157" sldId="2147468996"/>
        </pc:sldMkLst>
      </pc:sldChg>
      <pc:sldChg chg="add del">
        <pc:chgData name="Pallavi Bothra" userId="f6f57c13-3a62-40cf-a90c-f5277fad9e73" providerId="ADAL" clId="{DB4DDA6F-E09D-4172-9A26-E38A154DDBA0}" dt="2024-01-22T09:19:17.707" v="86" actId="47"/>
        <pc:sldMkLst>
          <pc:docMk/>
          <pc:sldMk cId="78732353" sldId="2147468997"/>
        </pc:sldMkLst>
      </pc:sldChg>
      <pc:sldChg chg="addSp delSp modSp add mod">
        <pc:chgData name="Pallavi Bothra" userId="f6f57c13-3a62-40cf-a90c-f5277fad9e73" providerId="ADAL" clId="{DB4DDA6F-E09D-4172-9A26-E38A154DDBA0}" dt="2024-01-24T18:51:22.535" v="1189" actId="1076"/>
        <pc:sldMkLst>
          <pc:docMk/>
          <pc:sldMk cId="3644026957" sldId="2147468997"/>
        </pc:sldMkLst>
        <pc:spChg chg="mod">
          <ac:chgData name="Pallavi Bothra" userId="f6f57c13-3a62-40cf-a90c-f5277fad9e73" providerId="ADAL" clId="{DB4DDA6F-E09D-4172-9A26-E38A154DDBA0}" dt="2024-01-24T18:50:13.864" v="1176" actId="20577"/>
          <ac:spMkLst>
            <pc:docMk/>
            <pc:sldMk cId="3644026957" sldId="2147468997"/>
            <ac:spMk id="3" creationId="{7F305365-29CA-C7B5-6E3F-210DC60ACF6E}"/>
          </ac:spMkLst>
        </pc:spChg>
        <pc:spChg chg="mod">
          <ac:chgData name="Pallavi Bothra" userId="f6f57c13-3a62-40cf-a90c-f5277fad9e73" providerId="ADAL" clId="{DB4DDA6F-E09D-4172-9A26-E38A154DDBA0}" dt="2024-01-24T18:49:10.627" v="1154"/>
          <ac:spMkLst>
            <pc:docMk/>
            <pc:sldMk cId="3644026957" sldId="2147468997"/>
            <ac:spMk id="5" creationId="{A8C94439-AB1F-C277-A8E0-41468A768E62}"/>
          </ac:spMkLst>
        </pc:spChg>
        <pc:spChg chg="mod">
          <ac:chgData name="Pallavi Bothra" userId="f6f57c13-3a62-40cf-a90c-f5277fad9e73" providerId="ADAL" clId="{DB4DDA6F-E09D-4172-9A26-E38A154DDBA0}" dt="2024-01-24T18:49:44.560" v="1171"/>
          <ac:spMkLst>
            <pc:docMk/>
            <pc:sldMk cId="3644026957" sldId="2147468997"/>
            <ac:spMk id="8" creationId="{A68D5E23-72DC-7317-3E70-7D71B7BA80BC}"/>
          </ac:spMkLst>
        </pc:spChg>
        <pc:spChg chg="mod">
          <ac:chgData name="Pallavi Bothra" userId="f6f57c13-3a62-40cf-a90c-f5277fad9e73" providerId="ADAL" clId="{DB4DDA6F-E09D-4172-9A26-E38A154DDBA0}" dt="2024-01-24T18:49:23.783" v="1168" actId="20577"/>
          <ac:spMkLst>
            <pc:docMk/>
            <pc:sldMk cId="3644026957" sldId="2147468997"/>
            <ac:spMk id="9" creationId="{655A6175-6E74-01BE-C97E-280A846753DD}"/>
          </ac:spMkLst>
        </pc:spChg>
        <pc:spChg chg="mod">
          <ac:chgData name="Pallavi Bothra" userId="f6f57c13-3a62-40cf-a90c-f5277fad9e73" providerId="ADAL" clId="{DB4DDA6F-E09D-4172-9A26-E38A154DDBA0}" dt="2024-01-24T18:49:17.267" v="1162" actId="20577"/>
          <ac:spMkLst>
            <pc:docMk/>
            <pc:sldMk cId="3644026957" sldId="2147468997"/>
            <ac:spMk id="11" creationId="{707C5A75-ED52-D606-7AC4-959202D8012F}"/>
          </ac:spMkLst>
        </pc:spChg>
        <pc:spChg chg="mod">
          <ac:chgData name="Pallavi Bothra" userId="f6f57c13-3a62-40cf-a90c-f5277fad9e73" providerId="ADAL" clId="{DB4DDA6F-E09D-4172-9A26-E38A154DDBA0}" dt="2024-01-24T18:48:23.082" v="1151" actId="20577"/>
          <ac:spMkLst>
            <pc:docMk/>
            <pc:sldMk cId="3644026957" sldId="2147468997"/>
            <ac:spMk id="16" creationId="{60AFD7A3-3381-BC80-1030-669AFE6D746E}"/>
          </ac:spMkLst>
        </pc:spChg>
        <pc:spChg chg="mod">
          <ac:chgData name="Pallavi Bothra" userId="f6f57c13-3a62-40cf-a90c-f5277fad9e73" providerId="ADAL" clId="{DB4DDA6F-E09D-4172-9A26-E38A154DDBA0}" dt="2024-01-24T18:47:54.144" v="1144"/>
          <ac:spMkLst>
            <pc:docMk/>
            <pc:sldMk cId="3644026957" sldId="2147468997"/>
            <ac:spMk id="19" creationId="{908584C9-8053-BAF4-2837-F31222763A77}"/>
          </ac:spMkLst>
        </pc:spChg>
        <pc:spChg chg="mod">
          <ac:chgData name="Pallavi Bothra" userId="f6f57c13-3a62-40cf-a90c-f5277fad9e73" providerId="ADAL" clId="{DB4DDA6F-E09D-4172-9A26-E38A154DDBA0}" dt="2024-01-24T18:48:44.339" v="1152"/>
          <ac:spMkLst>
            <pc:docMk/>
            <pc:sldMk cId="3644026957" sldId="2147468997"/>
            <ac:spMk id="20" creationId="{8BC02F85-542C-62AC-AE9B-960CD2FC3FDC}"/>
          </ac:spMkLst>
        </pc:spChg>
        <pc:spChg chg="mod">
          <ac:chgData name="Pallavi Bothra" userId="f6f57c13-3a62-40cf-a90c-f5277fad9e73" providerId="ADAL" clId="{DB4DDA6F-E09D-4172-9A26-E38A154DDBA0}" dt="2024-01-24T18:48:04.586" v="1147"/>
          <ac:spMkLst>
            <pc:docMk/>
            <pc:sldMk cId="3644026957" sldId="2147468997"/>
            <ac:spMk id="742" creationId="{C45ED160-274D-7D5D-6A82-81870E69F4BD}"/>
          </ac:spMkLst>
        </pc:spChg>
        <pc:spChg chg="mod">
          <ac:chgData name="Pallavi Bothra" userId="f6f57c13-3a62-40cf-a90c-f5277fad9e73" providerId="ADAL" clId="{DB4DDA6F-E09D-4172-9A26-E38A154DDBA0}" dt="2024-01-24T18:50:39.724" v="1184" actId="313"/>
          <ac:spMkLst>
            <pc:docMk/>
            <pc:sldMk cId="3644026957" sldId="2147468997"/>
            <ac:spMk id="747" creationId="{42314759-16C9-2A2E-4382-7C21536611C2}"/>
          </ac:spMkLst>
        </pc:spChg>
        <pc:spChg chg="mod">
          <ac:chgData name="Pallavi Bothra" userId="f6f57c13-3a62-40cf-a90c-f5277fad9e73" providerId="ADAL" clId="{DB4DDA6F-E09D-4172-9A26-E38A154DDBA0}" dt="2024-01-24T18:50:30.812" v="1181" actId="20577"/>
          <ac:spMkLst>
            <pc:docMk/>
            <pc:sldMk cId="3644026957" sldId="2147468997"/>
            <ac:spMk id="748" creationId="{52A172F7-40D3-395B-CCC6-FDB8624B34C3}"/>
          </ac:spMkLst>
        </pc:spChg>
        <pc:spChg chg="mod">
          <ac:chgData name="Pallavi Bothra" userId="f6f57c13-3a62-40cf-a90c-f5277fad9e73" providerId="ADAL" clId="{DB4DDA6F-E09D-4172-9A26-E38A154DDBA0}" dt="2024-01-24T18:50:34.732" v="1183" actId="6549"/>
          <ac:spMkLst>
            <pc:docMk/>
            <pc:sldMk cId="3644026957" sldId="2147468997"/>
            <ac:spMk id="749" creationId="{A50E6FED-D952-EBCF-AAC5-BD6B2EFDC8C8}"/>
          </ac:spMkLst>
        </pc:spChg>
        <pc:spChg chg="mod">
          <ac:chgData name="Pallavi Bothra" userId="f6f57c13-3a62-40cf-a90c-f5277fad9e73" providerId="ADAL" clId="{DB4DDA6F-E09D-4172-9A26-E38A154DDBA0}" dt="2024-01-24T18:48:12.069" v="1148"/>
          <ac:spMkLst>
            <pc:docMk/>
            <pc:sldMk cId="3644026957" sldId="2147468997"/>
            <ac:spMk id="755" creationId="{2C81BA28-BF01-1AFB-6F1B-C3A82383E1EE}"/>
          </ac:spMkLst>
        </pc:spChg>
        <pc:picChg chg="del">
          <ac:chgData name="Pallavi Bothra" userId="f6f57c13-3a62-40cf-a90c-f5277fad9e73" providerId="ADAL" clId="{DB4DDA6F-E09D-4172-9A26-E38A154DDBA0}" dt="2024-01-24T18:47:57.848" v="1146" actId="478"/>
          <ac:picMkLst>
            <pc:docMk/>
            <pc:sldMk cId="3644026957" sldId="2147468997"/>
            <ac:picMk id="12" creationId="{0D06FF75-3E4E-3AD8-E2A3-04323BD134E2}"/>
          </ac:picMkLst>
        </pc:picChg>
        <pc:picChg chg="add mod">
          <ac:chgData name="Pallavi Bothra" userId="f6f57c13-3a62-40cf-a90c-f5277fad9e73" providerId="ADAL" clId="{DB4DDA6F-E09D-4172-9A26-E38A154DDBA0}" dt="2024-01-24T18:48:59.827" v="1153"/>
          <ac:picMkLst>
            <pc:docMk/>
            <pc:sldMk cId="3644026957" sldId="2147468997"/>
            <ac:picMk id="13" creationId="{9956F419-8335-E65A-CA93-ADBD00F001C4}"/>
          </ac:picMkLst>
        </pc:picChg>
        <pc:picChg chg="add mod">
          <ac:chgData name="Pallavi Bothra" userId="f6f57c13-3a62-40cf-a90c-f5277fad9e73" providerId="ADAL" clId="{DB4DDA6F-E09D-4172-9A26-E38A154DDBA0}" dt="2024-01-24T18:51:22.535" v="1189" actId="1076"/>
          <ac:picMkLst>
            <pc:docMk/>
            <pc:sldMk cId="3644026957" sldId="2147468997"/>
            <ac:picMk id="1026" creationId="{D09B5231-76BF-FE2F-05BB-5CA197EBF722}"/>
          </ac:picMkLst>
        </pc:picChg>
        <pc:picChg chg="del">
          <ac:chgData name="Pallavi Bothra" userId="f6f57c13-3a62-40cf-a90c-f5277fad9e73" providerId="ADAL" clId="{DB4DDA6F-E09D-4172-9A26-E38A154DDBA0}" dt="2024-01-24T18:47:55.904" v="1145" actId="478"/>
          <ac:picMkLst>
            <pc:docMk/>
            <pc:sldMk cId="3644026957" sldId="2147468997"/>
            <ac:picMk id="5122" creationId="{FB0ADACE-765C-0BE0-0E9A-5E2BABE781EE}"/>
          </ac:picMkLst>
        </pc:picChg>
      </pc:sldChg>
      <pc:sldChg chg="addSp delSp modSp add mod">
        <pc:chgData name="Pallavi Bothra" userId="f6f57c13-3a62-40cf-a90c-f5277fad9e73" providerId="ADAL" clId="{DB4DDA6F-E09D-4172-9A26-E38A154DDBA0}" dt="2024-01-25T06:23:54.490" v="1355" actId="20577"/>
        <pc:sldMkLst>
          <pc:docMk/>
          <pc:sldMk cId="2382697544" sldId="2147468998"/>
        </pc:sldMkLst>
        <pc:spChg chg="mod">
          <ac:chgData name="Pallavi Bothra" userId="f6f57c13-3a62-40cf-a90c-f5277fad9e73" providerId="ADAL" clId="{DB4DDA6F-E09D-4172-9A26-E38A154DDBA0}" dt="2024-01-25T06:23:54.490" v="1355" actId="20577"/>
          <ac:spMkLst>
            <pc:docMk/>
            <pc:sldMk cId="2382697544" sldId="2147468998"/>
            <ac:spMk id="3" creationId="{7F305365-29CA-C7B5-6E3F-210DC60ACF6E}"/>
          </ac:spMkLst>
        </pc:spChg>
        <pc:spChg chg="mod">
          <ac:chgData name="Pallavi Bothra" userId="f6f57c13-3a62-40cf-a90c-f5277fad9e73" providerId="ADAL" clId="{DB4DDA6F-E09D-4172-9A26-E38A154DDBA0}" dt="2024-01-24T18:58:42.262" v="1211" actId="20577"/>
          <ac:spMkLst>
            <pc:docMk/>
            <pc:sldMk cId="2382697544" sldId="2147468998"/>
            <ac:spMk id="5" creationId="{A8C94439-AB1F-C277-A8E0-41468A768E62}"/>
          </ac:spMkLst>
        </pc:spChg>
        <pc:spChg chg="mod">
          <ac:chgData name="Pallavi Bothra" userId="f6f57c13-3a62-40cf-a90c-f5277fad9e73" providerId="ADAL" clId="{DB4DDA6F-E09D-4172-9A26-E38A154DDBA0}" dt="2024-01-24T18:58:50.071" v="1219" actId="20577"/>
          <ac:spMkLst>
            <pc:docMk/>
            <pc:sldMk cId="2382697544" sldId="2147468998"/>
            <ac:spMk id="8" creationId="{A68D5E23-72DC-7317-3E70-7D71B7BA80BC}"/>
          </ac:spMkLst>
        </pc:spChg>
        <pc:spChg chg="mod">
          <ac:chgData name="Pallavi Bothra" userId="f6f57c13-3a62-40cf-a90c-f5277fad9e73" providerId="ADAL" clId="{DB4DDA6F-E09D-4172-9A26-E38A154DDBA0}" dt="2024-01-24T18:58:44.844" v="1214" actId="20577"/>
          <ac:spMkLst>
            <pc:docMk/>
            <pc:sldMk cId="2382697544" sldId="2147468998"/>
            <ac:spMk id="9" creationId="{655A6175-6E74-01BE-C97E-280A846753DD}"/>
          </ac:spMkLst>
        </pc:spChg>
        <pc:spChg chg="mod">
          <ac:chgData name="Pallavi Bothra" userId="f6f57c13-3a62-40cf-a90c-f5277fad9e73" providerId="ADAL" clId="{DB4DDA6F-E09D-4172-9A26-E38A154DDBA0}" dt="2024-01-24T18:58:47.360" v="1216" actId="20577"/>
          <ac:spMkLst>
            <pc:docMk/>
            <pc:sldMk cId="2382697544" sldId="2147468998"/>
            <ac:spMk id="11" creationId="{707C5A75-ED52-D606-7AC4-959202D8012F}"/>
          </ac:spMkLst>
        </pc:spChg>
        <pc:spChg chg="mod">
          <ac:chgData name="Pallavi Bothra" userId="f6f57c13-3a62-40cf-a90c-f5277fad9e73" providerId="ADAL" clId="{DB4DDA6F-E09D-4172-9A26-E38A154DDBA0}" dt="2024-01-24T18:58:39.712" v="1208" actId="20577"/>
          <ac:spMkLst>
            <pc:docMk/>
            <pc:sldMk cId="2382697544" sldId="2147468998"/>
            <ac:spMk id="16" creationId="{60AFD7A3-3381-BC80-1030-669AFE6D746E}"/>
          </ac:spMkLst>
        </pc:spChg>
        <pc:spChg chg="mod">
          <ac:chgData name="Pallavi Bothra" userId="f6f57c13-3a62-40cf-a90c-f5277fad9e73" providerId="ADAL" clId="{DB4DDA6F-E09D-4172-9A26-E38A154DDBA0}" dt="2024-01-24T19:03:51.157" v="1341" actId="20577"/>
          <ac:spMkLst>
            <pc:docMk/>
            <pc:sldMk cId="2382697544" sldId="2147468998"/>
            <ac:spMk id="17" creationId="{9485B9F8-9806-D2FC-8CAF-164905405243}"/>
          </ac:spMkLst>
        </pc:spChg>
        <pc:spChg chg="mod">
          <ac:chgData name="Pallavi Bothra" userId="f6f57c13-3a62-40cf-a90c-f5277fad9e73" providerId="ADAL" clId="{DB4DDA6F-E09D-4172-9A26-E38A154DDBA0}" dt="2024-01-24T18:57:59.737" v="1195"/>
          <ac:spMkLst>
            <pc:docMk/>
            <pc:sldMk cId="2382697544" sldId="2147468998"/>
            <ac:spMk id="19" creationId="{908584C9-8053-BAF4-2837-F31222763A77}"/>
          </ac:spMkLst>
        </pc:spChg>
        <pc:spChg chg="mod">
          <ac:chgData name="Pallavi Bothra" userId="f6f57c13-3a62-40cf-a90c-f5277fad9e73" providerId="ADAL" clId="{DB4DDA6F-E09D-4172-9A26-E38A154DDBA0}" dt="2024-01-24T18:57:51.333" v="1194"/>
          <ac:spMkLst>
            <pc:docMk/>
            <pc:sldMk cId="2382697544" sldId="2147468998"/>
            <ac:spMk id="20" creationId="{8BC02F85-542C-62AC-AE9B-960CD2FC3FDC}"/>
          </ac:spMkLst>
        </pc:spChg>
        <pc:spChg chg="mod">
          <ac:chgData name="Pallavi Bothra" userId="f6f57c13-3a62-40cf-a90c-f5277fad9e73" providerId="ADAL" clId="{DB4DDA6F-E09D-4172-9A26-E38A154DDBA0}" dt="2024-01-24T19:04:14.975" v="1344" actId="403"/>
          <ac:spMkLst>
            <pc:docMk/>
            <pc:sldMk cId="2382697544" sldId="2147468998"/>
            <ac:spMk id="742" creationId="{C45ED160-274D-7D5D-6A82-81870E69F4BD}"/>
          </ac:spMkLst>
        </pc:spChg>
        <pc:spChg chg="mod">
          <ac:chgData name="Pallavi Bothra" userId="f6f57c13-3a62-40cf-a90c-f5277fad9e73" providerId="ADAL" clId="{DB4DDA6F-E09D-4172-9A26-E38A154DDBA0}" dt="2024-01-24T18:59:00.657" v="1220"/>
          <ac:spMkLst>
            <pc:docMk/>
            <pc:sldMk cId="2382697544" sldId="2147468998"/>
            <ac:spMk id="747" creationId="{42314759-16C9-2A2E-4382-7C21536611C2}"/>
          </ac:spMkLst>
        </pc:spChg>
        <pc:spChg chg="mod">
          <ac:chgData name="Pallavi Bothra" userId="f6f57c13-3a62-40cf-a90c-f5277fad9e73" providerId="ADAL" clId="{DB4DDA6F-E09D-4172-9A26-E38A154DDBA0}" dt="2024-01-24T18:59:16.832" v="1224" actId="20577"/>
          <ac:spMkLst>
            <pc:docMk/>
            <pc:sldMk cId="2382697544" sldId="2147468998"/>
            <ac:spMk id="748" creationId="{52A172F7-40D3-395B-CCC6-FDB8624B34C3}"/>
          </ac:spMkLst>
        </pc:spChg>
        <pc:spChg chg="mod">
          <ac:chgData name="Pallavi Bothra" userId="f6f57c13-3a62-40cf-a90c-f5277fad9e73" providerId="ADAL" clId="{DB4DDA6F-E09D-4172-9A26-E38A154DDBA0}" dt="2024-01-24T19:00:16.433" v="1242" actId="1035"/>
          <ac:spMkLst>
            <pc:docMk/>
            <pc:sldMk cId="2382697544" sldId="2147468998"/>
            <ac:spMk id="749" creationId="{A50E6FED-D952-EBCF-AAC5-BD6B2EFDC8C8}"/>
          </ac:spMkLst>
        </pc:spChg>
        <pc:spChg chg="mod">
          <ac:chgData name="Pallavi Bothra" userId="f6f57c13-3a62-40cf-a90c-f5277fad9e73" providerId="ADAL" clId="{DB4DDA6F-E09D-4172-9A26-E38A154DDBA0}" dt="2024-01-24T18:58:36.804" v="1205"/>
          <ac:spMkLst>
            <pc:docMk/>
            <pc:sldMk cId="2382697544" sldId="2147468998"/>
            <ac:spMk id="755" creationId="{2C81BA28-BF01-1AFB-6F1B-C3A82383E1EE}"/>
          </ac:spMkLst>
        </pc:spChg>
        <pc:picChg chg="del">
          <ac:chgData name="Pallavi Bothra" userId="f6f57c13-3a62-40cf-a90c-f5277fad9e73" providerId="ADAL" clId="{DB4DDA6F-E09D-4172-9A26-E38A154DDBA0}" dt="2024-01-24T18:58:02.035" v="1196" actId="478"/>
          <ac:picMkLst>
            <pc:docMk/>
            <pc:sldMk cId="2382697544" sldId="2147468998"/>
            <ac:picMk id="13" creationId="{9956F419-8335-E65A-CA93-ADBD00F001C4}"/>
          </ac:picMkLst>
        </pc:picChg>
        <pc:picChg chg="mod">
          <ac:chgData name="Pallavi Bothra" userId="f6f57c13-3a62-40cf-a90c-f5277fad9e73" providerId="ADAL" clId="{DB4DDA6F-E09D-4172-9A26-E38A154DDBA0}" dt="2024-01-24T19:03:43.551" v="1338" actId="1037"/>
          <ac:picMkLst>
            <pc:docMk/>
            <pc:sldMk cId="2382697544" sldId="2147468998"/>
            <ac:picMk id="767" creationId="{29D670B7-BDA2-A0FF-14C5-B1BDE284D8EE}"/>
          </ac:picMkLst>
        </pc:picChg>
        <pc:picChg chg="del">
          <ac:chgData name="Pallavi Bothra" userId="f6f57c13-3a62-40cf-a90c-f5277fad9e73" providerId="ADAL" clId="{DB4DDA6F-E09D-4172-9A26-E38A154DDBA0}" dt="2024-01-24T18:58:04.098" v="1197" actId="478"/>
          <ac:picMkLst>
            <pc:docMk/>
            <pc:sldMk cId="2382697544" sldId="2147468998"/>
            <ac:picMk id="1026" creationId="{D09B5231-76BF-FE2F-05BB-5CA197EBF722}"/>
          </ac:picMkLst>
        </pc:picChg>
        <pc:picChg chg="add mod">
          <ac:chgData name="Pallavi Bothra" userId="f6f57c13-3a62-40cf-a90c-f5277fad9e73" providerId="ADAL" clId="{DB4DDA6F-E09D-4172-9A26-E38A154DDBA0}" dt="2024-01-24T19:03:08.666" v="1327" actId="1038"/>
          <ac:picMkLst>
            <pc:docMk/>
            <pc:sldMk cId="2382697544" sldId="2147468998"/>
            <ac:picMk id="2050" creationId="{FD80AF8A-75FD-D4BB-3D1E-9C29F52AD7FC}"/>
          </ac:picMkLst>
        </pc:picChg>
        <pc:picChg chg="add mod">
          <ac:chgData name="Pallavi Bothra" userId="f6f57c13-3a62-40cf-a90c-f5277fad9e73" providerId="ADAL" clId="{DB4DDA6F-E09D-4172-9A26-E38A154DDBA0}" dt="2024-01-24T19:03:38.863" v="1332" actId="1076"/>
          <ac:picMkLst>
            <pc:docMk/>
            <pc:sldMk cId="2382697544" sldId="2147468998"/>
            <ac:picMk id="2052" creationId="{91B2A236-971E-9B13-09F9-C2942043F6DB}"/>
          </ac:picMkLst>
        </pc:picChg>
      </pc:sldChg>
      <pc:sldChg chg="modSp add del mod">
        <pc:chgData name="Pallavi Bothra" userId="f6f57c13-3a62-40cf-a90c-f5277fad9e73" providerId="ADAL" clId="{DB4DDA6F-E09D-4172-9A26-E38A154DDBA0}" dt="2024-01-22T09:19:17.707" v="86" actId="47"/>
        <pc:sldMkLst>
          <pc:docMk/>
          <pc:sldMk cId="2610356085" sldId="2147468998"/>
        </pc:sldMkLst>
        <pc:spChg chg="mod">
          <ac:chgData name="Pallavi Bothra" userId="f6f57c13-3a62-40cf-a90c-f5277fad9e73" providerId="ADAL" clId="{DB4DDA6F-E09D-4172-9A26-E38A154DDBA0}" dt="2024-01-22T09:18:34.750" v="82" actId="120"/>
          <ac:spMkLst>
            <pc:docMk/>
            <pc:sldMk cId="2610356085" sldId="2147468998"/>
            <ac:spMk id="742" creationId="{C45ED160-274D-7D5D-6A82-81870E69F4BD}"/>
          </ac:spMkLst>
        </pc:spChg>
      </pc:sldChg>
    </pc:docChg>
  </pc:docChgLst>
  <pc:docChgLst>
    <pc:chgData name="Maureen S. Fleming" userId="S::maureen.fleming@gartner.com::55564240-5a0e-4b16-8a23-b6077a4b6df8" providerId="AD" clId="Web-{F368F130-8DDA-43F5-B8CD-4BF383F13A3D}"/>
    <pc:docChg chg="mod modSld">
      <pc:chgData name="Maureen S. Fleming" userId="S::maureen.fleming@gartner.com::55564240-5a0e-4b16-8a23-b6077a4b6df8" providerId="AD" clId="Web-{F368F130-8DDA-43F5-B8CD-4BF383F13A3D}" dt="2024-02-08T13:50:46.945" v="3"/>
      <pc:docMkLst>
        <pc:docMk/>
      </pc:docMkLst>
      <pc:sldChg chg="modSp modCm">
        <pc:chgData name="Maureen S. Fleming" userId="S::maureen.fleming@gartner.com::55564240-5a0e-4b16-8a23-b6077a4b6df8" providerId="AD" clId="Web-{F368F130-8DDA-43F5-B8CD-4BF383F13A3D}" dt="2024-02-08T13:50:46.945" v="3"/>
        <pc:sldMkLst>
          <pc:docMk/>
          <pc:sldMk cId="2121165865" sldId="2147468999"/>
        </pc:sldMkLst>
        <pc:spChg chg="mod">
          <ac:chgData name="Maureen S. Fleming" userId="S::maureen.fleming@gartner.com::55564240-5a0e-4b16-8a23-b6077a4b6df8" providerId="AD" clId="Web-{F368F130-8DDA-43F5-B8CD-4BF383F13A3D}" dt="2024-02-08T13:43:47.806" v="0" actId="14100"/>
          <ac:spMkLst>
            <pc:docMk/>
            <pc:sldMk cId="2121165865" sldId="2147468999"/>
            <ac:spMk id="3" creationId="{117D4E76-B3A1-717B-5C07-4BEB03A2C018}"/>
          </ac:spMkLst>
        </pc:spChg>
        <pc:extLst>
          <p:ext xmlns:p="http://schemas.openxmlformats.org/presentationml/2006/main" uri="{D6D511B9-2390-475A-947B-AFAB55BFBCF1}">
            <pc226:cmChg xmlns:pc226="http://schemas.microsoft.com/office/powerpoint/2022/06/main/command" chg="mod modTsk">
              <pc226:chgData name="Maureen S. Fleming" userId="S::maureen.fleming@gartner.com::55564240-5a0e-4b16-8a23-b6077a4b6df8" providerId="AD" clId="Web-{F368F130-8DDA-43F5-B8CD-4BF383F13A3D}" dt="2024-02-08T13:50:46.945" v="3"/>
              <pc2:cmMkLst xmlns:pc2="http://schemas.microsoft.com/office/powerpoint/2019/9/main/command">
                <pc:docMk/>
                <pc:sldMk cId="2121165865" sldId="2147468999"/>
                <pc2:cmMk id="{F4A4A31F-A46E-0742-9FF3-536C822BC07D}"/>
              </pc2:cmMkLst>
              <pc226:cmRplyChg chg="add">
                <pc226:chgData name="Maureen S. Fleming" userId="S::maureen.fleming@gartner.com::55564240-5a0e-4b16-8a23-b6077a4b6df8" providerId="AD" clId="Web-{F368F130-8DDA-43F5-B8CD-4BF383F13A3D}" dt="2024-02-08T13:50:46.945" v="3"/>
                <pc2:cmRplyMkLst xmlns:pc2="http://schemas.microsoft.com/office/powerpoint/2019/9/main/command">
                  <pc:docMk/>
                  <pc:sldMk cId="2121165865" sldId="2147468999"/>
                  <pc2:cmMk id="{F4A4A31F-A46E-0742-9FF3-536C822BC07D}"/>
                  <pc2:cmRplyMk id="{3508EAEB-6316-41D6-BAF0-99307F493A48}"/>
                </pc2:cmRplyMkLst>
              </pc226:cmRplyChg>
            </pc226:cmChg>
          </p:ext>
        </pc:extLst>
      </pc:sldChg>
    </pc:docChg>
  </pc:docChgLst>
  <pc:docChgLst>
    <pc:chgData name="Caroline Baker" userId="0fbdd6cc-5ea0-493c-bb40-f2bbc5de54ff" providerId="ADAL" clId="{7A398367-840A-FC48-9A3D-BBB937E4EAB6}"/>
    <pc:docChg chg="undo custSel modSld modMainMaster">
      <pc:chgData name="Caroline Baker" userId="0fbdd6cc-5ea0-493c-bb40-f2bbc5de54ff" providerId="ADAL" clId="{7A398367-840A-FC48-9A3D-BBB937E4EAB6}" dt="2024-02-08T16:16:04.313" v="705" actId="20577"/>
      <pc:docMkLst>
        <pc:docMk/>
      </pc:docMkLst>
      <pc:sldChg chg="modSp mod">
        <pc:chgData name="Caroline Baker" userId="0fbdd6cc-5ea0-493c-bb40-f2bbc5de54ff" providerId="ADAL" clId="{7A398367-840A-FC48-9A3D-BBB937E4EAB6}" dt="2024-02-07T21:12:49.690" v="275" actId="20577"/>
        <pc:sldMkLst>
          <pc:docMk/>
          <pc:sldMk cId="1724820659" sldId="2147468884"/>
        </pc:sldMkLst>
        <pc:spChg chg="mod">
          <ac:chgData name="Caroline Baker" userId="0fbdd6cc-5ea0-493c-bb40-f2bbc5de54ff" providerId="ADAL" clId="{7A398367-840A-FC48-9A3D-BBB937E4EAB6}" dt="2024-02-07T21:12:49.690" v="275" actId="20577"/>
          <ac:spMkLst>
            <pc:docMk/>
            <pc:sldMk cId="1724820659" sldId="2147468884"/>
            <ac:spMk id="742" creationId="{C45ED160-274D-7D5D-6A82-81870E69F4BD}"/>
          </ac:spMkLst>
        </pc:spChg>
        <pc:spChg chg="mod">
          <ac:chgData name="Caroline Baker" userId="0fbdd6cc-5ea0-493c-bb40-f2bbc5de54ff" providerId="ADAL" clId="{7A398367-840A-FC48-9A3D-BBB937E4EAB6}" dt="2024-02-07T20:48:18.215" v="110"/>
          <ac:spMkLst>
            <pc:docMk/>
            <pc:sldMk cId="1724820659" sldId="2147468884"/>
            <ac:spMk id="751" creationId="{3D178A78-CD9B-9B57-381E-6C79E4F668FB}"/>
          </ac:spMkLst>
        </pc:spChg>
        <pc:spChg chg="mod">
          <ac:chgData name="Caroline Baker" userId="0fbdd6cc-5ea0-493c-bb40-f2bbc5de54ff" providerId="ADAL" clId="{7A398367-840A-FC48-9A3D-BBB937E4EAB6}" dt="2024-02-07T21:12:35.029" v="271" actId="20577"/>
          <ac:spMkLst>
            <pc:docMk/>
            <pc:sldMk cId="1724820659" sldId="2147468884"/>
            <ac:spMk id="759" creationId="{3BADE806-97C4-C52D-6972-2F312E7D9938}"/>
          </ac:spMkLst>
        </pc:spChg>
      </pc:sldChg>
      <pc:sldChg chg="modSp mod">
        <pc:chgData name="Caroline Baker" userId="0fbdd6cc-5ea0-493c-bb40-f2bbc5de54ff" providerId="ADAL" clId="{7A398367-840A-FC48-9A3D-BBB937E4EAB6}" dt="2024-02-08T16:10:09.611" v="651"/>
        <pc:sldMkLst>
          <pc:docMk/>
          <pc:sldMk cId="2795186164" sldId="2147468885"/>
        </pc:sldMkLst>
        <pc:spChg chg="mod">
          <ac:chgData name="Caroline Baker" userId="0fbdd6cc-5ea0-493c-bb40-f2bbc5de54ff" providerId="ADAL" clId="{7A398367-840A-FC48-9A3D-BBB937E4EAB6}" dt="2024-02-08T16:10:09.611" v="651"/>
          <ac:spMkLst>
            <pc:docMk/>
            <pc:sldMk cId="2795186164" sldId="2147468885"/>
            <ac:spMk id="742" creationId="{C45ED160-274D-7D5D-6A82-81870E69F4BD}"/>
          </ac:spMkLst>
        </pc:spChg>
        <pc:spChg chg="mod">
          <ac:chgData name="Caroline Baker" userId="0fbdd6cc-5ea0-493c-bb40-f2bbc5de54ff" providerId="ADAL" clId="{7A398367-840A-FC48-9A3D-BBB937E4EAB6}" dt="2024-02-07T21:21:25.177" v="349" actId="20577"/>
          <ac:spMkLst>
            <pc:docMk/>
            <pc:sldMk cId="2795186164" sldId="2147468885"/>
            <ac:spMk id="748" creationId="{52A172F7-40D3-395B-CCC6-FDB8624B34C3}"/>
          </ac:spMkLst>
        </pc:spChg>
        <pc:spChg chg="mod">
          <ac:chgData name="Caroline Baker" userId="0fbdd6cc-5ea0-493c-bb40-f2bbc5de54ff" providerId="ADAL" clId="{7A398367-840A-FC48-9A3D-BBB937E4EAB6}" dt="2024-02-07T20:48:18.215" v="110"/>
          <ac:spMkLst>
            <pc:docMk/>
            <pc:sldMk cId="2795186164" sldId="2147468885"/>
            <ac:spMk id="751" creationId="{3D178A78-CD9B-9B57-381E-6C79E4F668FB}"/>
          </ac:spMkLst>
        </pc:spChg>
      </pc:sldChg>
      <pc:sldChg chg="modSp mod">
        <pc:chgData name="Caroline Baker" userId="0fbdd6cc-5ea0-493c-bb40-f2bbc5de54ff" providerId="ADAL" clId="{7A398367-840A-FC48-9A3D-BBB937E4EAB6}" dt="2024-02-08T16:07:53.943" v="642" actId="20577"/>
        <pc:sldMkLst>
          <pc:docMk/>
          <pc:sldMk cId="196815597" sldId="2147468886"/>
        </pc:sldMkLst>
        <pc:spChg chg="mod">
          <ac:chgData name="Caroline Baker" userId="0fbdd6cc-5ea0-493c-bb40-f2bbc5de54ff" providerId="ADAL" clId="{7A398367-840A-FC48-9A3D-BBB937E4EAB6}" dt="2024-02-08T16:06:37.507" v="641"/>
          <ac:spMkLst>
            <pc:docMk/>
            <pc:sldMk cId="196815597" sldId="2147468886"/>
            <ac:spMk id="742" creationId="{C45ED160-274D-7D5D-6A82-81870E69F4BD}"/>
          </ac:spMkLst>
        </pc:spChg>
        <pc:spChg chg="mod">
          <ac:chgData name="Caroline Baker" userId="0fbdd6cc-5ea0-493c-bb40-f2bbc5de54ff" providerId="ADAL" clId="{7A398367-840A-FC48-9A3D-BBB937E4EAB6}" dt="2024-02-07T21:11:53.200" v="269" actId="33524"/>
          <ac:spMkLst>
            <pc:docMk/>
            <pc:sldMk cId="196815597" sldId="2147468886"/>
            <ac:spMk id="748" creationId="{52A172F7-40D3-395B-CCC6-FDB8624B34C3}"/>
          </ac:spMkLst>
        </pc:spChg>
        <pc:spChg chg="mod">
          <ac:chgData name="Caroline Baker" userId="0fbdd6cc-5ea0-493c-bb40-f2bbc5de54ff" providerId="ADAL" clId="{7A398367-840A-FC48-9A3D-BBB937E4EAB6}" dt="2024-02-08T16:07:53.943" v="642" actId="20577"/>
          <ac:spMkLst>
            <pc:docMk/>
            <pc:sldMk cId="196815597" sldId="2147468886"/>
            <ac:spMk id="749" creationId="{A50E6FED-D952-EBCF-AAC5-BD6B2EFDC8C8}"/>
          </ac:spMkLst>
        </pc:spChg>
      </pc:sldChg>
      <pc:sldChg chg="modSp mod">
        <pc:chgData name="Caroline Baker" userId="0fbdd6cc-5ea0-493c-bb40-f2bbc5de54ff" providerId="ADAL" clId="{7A398367-840A-FC48-9A3D-BBB937E4EAB6}" dt="2024-02-07T21:21:39.831" v="350"/>
        <pc:sldMkLst>
          <pc:docMk/>
          <pc:sldMk cId="2796222228" sldId="2147468887"/>
        </pc:sldMkLst>
        <pc:spChg chg="mod">
          <ac:chgData name="Caroline Baker" userId="0fbdd6cc-5ea0-493c-bb40-f2bbc5de54ff" providerId="ADAL" clId="{7A398367-840A-FC48-9A3D-BBB937E4EAB6}" dt="2024-02-07T18:30:11.258" v="49" actId="313"/>
          <ac:spMkLst>
            <pc:docMk/>
            <pc:sldMk cId="2796222228" sldId="2147468887"/>
            <ac:spMk id="749" creationId="{A50E6FED-D952-EBCF-AAC5-BD6B2EFDC8C8}"/>
          </ac:spMkLst>
        </pc:spChg>
        <pc:spChg chg="mod">
          <ac:chgData name="Caroline Baker" userId="0fbdd6cc-5ea0-493c-bb40-f2bbc5de54ff" providerId="ADAL" clId="{7A398367-840A-FC48-9A3D-BBB937E4EAB6}" dt="2024-02-07T20:48:18.215" v="110"/>
          <ac:spMkLst>
            <pc:docMk/>
            <pc:sldMk cId="2796222228" sldId="2147468887"/>
            <ac:spMk id="751" creationId="{3D178A78-CD9B-9B57-381E-6C79E4F668FB}"/>
          </ac:spMkLst>
        </pc:spChg>
        <pc:spChg chg="mod">
          <ac:chgData name="Caroline Baker" userId="0fbdd6cc-5ea0-493c-bb40-f2bbc5de54ff" providerId="ADAL" clId="{7A398367-840A-FC48-9A3D-BBB937E4EAB6}" dt="2024-02-07T21:21:39.831" v="350"/>
          <ac:spMkLst>
            <pc:docMk/>
            <pc:sldMk cId="2796222228" sldId="2147468887"/>
            <ac:spMk id="759" creationId="{3BADE806-97C4-C52D-6972-2F312E7D9938}"/>
          </ac:spMkLst>
        </pc:spChg>
        <pc:spChg chg="mod">
          <ac:chgData name="Caroline Baker" userId="0fbdd6cc-5ea0-493c-bb40-f2bbc5de54ff" providerId="ADAL" clId="{7A398367-840A-FC48-9A3D-BBB937E4EAB6}" dt="2024-02-07T18:30:15.361" v="50" actId="313"/>
          <ac:spMkLst>
            <pc:docMk/>
            <pc:sldMk cId="2796222228" sldId="2147468887"/>
            <ac:spMk id="760" creationId="{16F0A96B-3D1E-E8DF-AC52-46F2C43A756E}"/>
          </ac:spMkLst>
        </pc:spChg>
      </pc:sldChg>
      <pc:sldChg chg="modSp mod">
        <pc:chgData name="Caroline Baker" userId="0fbdd6cc-5ea0-493c-bb40-f2bbc5de54ff" providerId="ADAL" clId="{7A398367-840A-FC48-9A3D-BBB937E4EAB6}" dt="2024-02-08T16:12:03.376" v="666" actId="20577"/>
        <pc:sldMkLst>
          <pc:docMk/>
          <pc:sldMk cId="1784610147" sldId="2147468888"/>
        </pc:sldMkLst>
        <pc:spChg chg="mod">
          <ac:chgData name="Caroline Baker" userId="0fbdd6cc-5ea0-493c-bb40-f2bbc5de54ff" providerId="ADAL" clId="{7A398367-840A-FC48-9A3D-BBB937E4EAB6}" dt="2024-02-08T16:12:03.376" v="666" actId="20577"/>
          <ac:spMkLst>
            <pc:docMk/>
            <pc:sldMk cId="1784610147" sldId="2147468888"/>
            <ac:spMk id="742" creationId="{C45ED160-274D-7D5D-6A82-81870E69F4BD}"/>
          </ac:spMkLst>
        </pc:spChg>
        <pc:spChg chg="mod">
          <ac:chgData name="Caroline Baker" userId="0fbdd6cc-5ea0-493c-bb40-f2bbc5de54ff" providerId="ADAL" clId="{7A398367-840A-FC48-9A3D-BBB937E4EAB6}" dt="2024-02-07T21:23:55.513" v="377"/>
          <ac:spMkLst>
            <pc:docMk/>
            <pc:sldMk cId="1784610147" sldId="2147468888"/>
            <ac:spMk id="747" creationId="{42314759-16C9-2A2E-4382-7C21536611C2}"/>
          </ac:spMkLst>
        </pc:spChg>
        <pc:spChg chg="mod">
          <ac:chgData name="Caroline Baker" userId="0fbdd6cc-5ea0-493c-bb40-f2bbc5de54ff" providerId="ADAL" clId="{7A398367-840A-FC48-9A3D-BBB937E4EAB6}" dt="2024-02-07T20:48:18.215" v="110"/>
          <ac:spMkLst>
            <pc:docMk/>
            <pc:sldMk cId="1784610147" sldId="2147468888"/>
            <ac:spMk id="751" creationId="{3D178A78-CD9B-9B57-381E-6C79E4F668FB}"/>
          </ac:spMkLst>
        </pc:spChg>
      </pc:sldChg>
      <pc:sldChg chg="modSp mod">
        <pc:chgData name="Caroline Baker" userId="0fbdd6cc-5ea0-493c-bb40-f2bbc5de54ff" providerId="ADAL" clId="{7A398367-840A-FC48-9A3D-BBB937E4EAB6}" dt="2024-02-08T16:08:26.257" v="643"/>
        <pc:sldMkLst>
          <pc:docMk/>
          <pc:sldMk cId="653031102" sldId="2147468889"/>
        </pc:sldMkLst>
        <pc:spChg chg="mod">
          <ac:chgData name="Caroline Baker" userId="0fbdd6cc-5ea0-493c-bb40-f2bbc5de54ff" providerId="ADAL" clId="{7A398367-840A-FC48-9A3D-BBB937E4EAB6}" dt="2024-02-08T16:08:26.257" v="643"/>
          <ac:spMkLst>
            <pc:docMk/>
            <pc:sldMk cId="653031102" sldId="2147468889"/>
            <ac:spMk id="742" creationId="{C45ED160-274D-7D5D-6A82-81870E69F4BD}"/>
          </ac:spMkLst>
        </pc:spChg>
        <pc:spChg chg="mod">
          <ac:chgData name="Caroline Baker" userId="0fbdd6cc-5ea0-493c-bb40-f2bbc5de54ff" providerId="ADAL" clId="{7A398367-840A-FC48-9A3D-BBB937E4EAB6}" dt="2024-02-07T21:17:22.906" v="301" actId="20577"/>
          <ac:spMkLst>
            <pc:docMk/>
            <pc:sldMk cId="653031102" sldId="2147468889"/>
            <ac:spMk id="748" creationId="{52A172F7-40D3-395B-CCC6-FDB8624B34C3}"/>
          </ac:spMkLst>
        </pc:spChg>
        <pc:spChg chg="mod">
          <ac:chgData name="Caroline Baker" userId="0fbdd6cc-5ea0-493c-bb40-f2bbc5de54ff" providerId="ADAL" clId="{7A398367-840A-FC48-9A3D-BBB937E4EAB6}" dt="2024-02-07T20:48:18.215" v="110"/>
          <ac:spMkLst>
            <pc:docMk/>
            <pc:sldMk cId="653031102" sldId="2147468889"/>
            <ac:spMk id="751" creationId="{3D178A78-CD9B-9B57-381E-6C79E4F668FB}"/>
          </ac:spMkLst>
        </pc:spChg>
      </pc:sldChg>
      <pc:sldChg chg="modSp mod">
        <pc:chgData name="Caroline Baker" userId="0fbdd6cc-5ea0-493c-bb40-f2bbc5de54ff" providerId="ADAL" clId="{7A398367-840A-FC48-9A3D-BBB937E4EAB6}" dt="2024-02-08T16:15:17.805" v="698"/>
        <pc:sldMkLst>
          <pc:docMk/>
          <pc:sldMk cId="3157923667" sldId="2147468892"/>
        </pc:sldMkLst>
        <pc:spChg chg="mod">
          <ac:chgData name="Caroline Baker" userId="0fbdd6cc-5ea0-493c-bb40-f2bbc5de54ff" providerId="ADAL" clId="{7A398367-840A-FC48-9A3D-BBB937E4EAB6}" dt="2024-02-08T16:15:17.805" v="698"/>
          <ac:spMkLst>
            <pc:docMk/>
            <pc:sldMk cId="3157923667" sldId="2147468892"/>
            <ac:spMk id="742" creationId="{C45ED160-274D-7D5D-6A82-81870E69F4BD}"/>
          </ac:spMkLst>
        </pc:spChg>
        <pc:spChg chg="mod">
          <ac:chgData name="Caroline Baker" userId="0fbdd6cc-5ea0-493c-bb40-f2bbc5de54ff" providerId="ADAL" clId="{7A398367-840A-FC48-9A3D-BBB937E4EAB6}" dt="2024-02-07T20:48:18.215" v="110"/>
          <ac:spMkLst>
            <pc:docMk/>
            <pc:sldMk cId="3157923667" sldId="2147468892"/>
            <ac:spMk id="751" creationId="{3D178A78-CD9B-9B57-381E-6C79E4F668FB}"/>
          </ac:spMkLst>
        </pc:spChg>
      </pc:sldChg>
      <pc:sldChg chg="modSp mod">
        <pc:chgData name="Caroline Baker" userId="0fbdd6cc-5ea0-493c-bb40-f2bbc5de54ff" providerId="ADAL" clId="{7A398367-840A-FC48-9A3D-BBB937E4EAB6}" dt="2024-02-07T21:13:09.787" v="278" actId="20577"/>
        <pc:sldMkLst>
          <pc:docMk/>
          <pc:sldMk cId="4085055161" sldId="2147468893"/>
        </pc:sldMkLst>
        <pc:spChg chg="mod">
          <ac:chgData name="Caroline Baker" userId="0fbdd6cc-5ea0-493c-bb40-f2bbc5de54ff" providerId="ADAL" clId="{7A398367-840A-FC48-9A3D-BBB937E4EAB6}" dt="2024-02-07T21:12:58.166" v="277" actId="20577"/>
          <ac:spMkLst>
            <pc:docMk/>
            <pc:sldMk cId="4085055161" sldId="2147468893"/>
            <ac:spMk id="742" creationId="{C45ED160-274D-7D5D-6A82-81870E69F4BD}"/>
          </ac:spMkLst>
        </pc:spChg>
        <pc:spChg chg="mod">
          <ac:chgData name="Caroline Baker" userId="0fbdd6cc-5ea0-493c-bb40-f2bbc5de54ff" providerId="ADAL" clId="{7A398367-840A-FC48-9A3D-BBB937E4EAB6}" dt="2024-02-07T21:13:09.787" v="278" actId="20577"/>
          <ac:spMkLst>
            <pc:docMk/>
            <pc:sldMk cId="4085055161" sldId="2147468893"/>
            <ac:spMk id="749" creationId="{A50E6FED-D952-EBCF-AAC5-BD6B2EFDC8C8}"/>
          </ac:spMkLst>
        </pc:spChg>
      </pc:sldChg>
      <pc:sldChg chg="modSp">
        <pc:chgData name="Caroline Baker" userId="0fbdd6cc-5ea0-493c-bb40-f2bbc5de54ff" providerId="ADAL" clId="{7A398367-840A-FC48-9A3D-BBB937E4EAB6}" dt="2024-02-08T16:11:50.328" v="664"/>
        <pc:sldMkLst>
          <pc:docMk/>
          <pc:sldMk cId="3428773387" sldId="2147468894"/>
        </pc:sldMkLst>
        <pc:spChg chg="mod">
          <ac:chgData name="Caroline Baker" userId="0fbdd6cc-5ea0-493c-bb40-f2bbc5de54ff" providerId="ADAL" clId="{7A398367-840A-FC48-9A3D-BBB937E4EAB6}" dt="2024-02-08T16:11:50.328" v="664"/>
          <ac:spMkLst>
            <pc:docMk/>
            <pc:sldMk cId="3428773387" sldId="2147468894"/>
            <ac:spMk id="742" creationId="{C45ED160-274D-7D5D-6A82-81870E69F4BD}"/>
          </ac:spMkLst>
        </pc:spChg>
        <pc:spChg chg="mod">
          <ac:chgData name="Caroline Baker" userId="0fbdd6cc-5ea0-493c-bb40-f2bbc5de54ff" providerId="ADAL" clId="{7A398367-840A-FC48-9A3D-BBB937E4EAB6}" dt="2024-02-07T20:48:18.215" v="110"/>
          <ac:spMkLst>
            <pc:docMk/>
            <pc:sldMk cId="3428773387" sldId="2147468894"/>
            <ac:spMk id="751" creationId="{3D178A78-CD9B-9B57-381E-6C79E4F668FB}"/>
          </ac:spMkLst>
        </pc:spChg>
      </pc:sldChg>
      <pc:sldChg chg="modSp mod">
        <pc:chgData name="Caroline Baker" userId="0fbdd6cc-5ea0-493c-bb40-f2bbc5de54ff" providerId="ADAL" clId="{7A398367-840A-FC48-9A3D-BBB937E4EAB6}" dt="2024-02-07T21:19:24.059" v="326" actId="20577"/>
        <pc:sldMkLst>
          <pc:docMk/>
          <pc:sldMk cId="1867902529" sldId="2147468895"/>
        </pc:sldMkLst>
        <pc:spChg chg="mod">
          <ac:chgData name="Caroline Baker" userId="0fbdd6cc-5ea0-493c-bb40-f2bbc5de54ff" providerId="ADAL" clId="{7A398367-840A-FC48-9A3D-BBB937E4EAB6}" dt="2024-02-07T21:19:24.059" v="326" actId="20577"/>
          <ac:spMkLst>
            <pc:docMk/>
            <pc:sldMk cId="1867902529" sldId="2147468895"/>
            <ac:spMk id="747" creationId="{42314759-16C9-2A2E-4382-7C21536611C2}"/>
          </ac:spMkLst>
        </pc:spChg>
        <pc:spChg chg="mod">
          <ac:chgData name="Caroline Baker" userId="0fbdd6cc-5ea0-493c-bb40-f2bbc5de54ff" providerId="ADAL" clId="{7A398367-840A-FC48-9A3D-BBB937E4EAB6}" dt="2024-02-07T20:48:18.215" v="110"/>
          <ac:spMkLst>
            <pc:docMk/>
            <pc:sldMk cId="1867902529" sldId="2147468895"/>
            <ac:spMk id="751" creationId="{3D178A78-CD9B-9B57-381E-6C79E4F668FB}"/>
          </ac:spMkLst>
        </pc:spChg>
        <pc:spChg chg="mod">
          <ac:chgData name="Caroline Baker" userId="0fbdd6cc-5ea0-493c-bb40-f2bbc5de54ff" providerId="ADAL" clId="{7A398367-840A-FC48-9A3D-BBB937E4EAB6}" dt="2024-02-07T20:56:27.893" v="150"/>
          <ac:spMkLst>
            <pc:docMk/>
            <pc:sldMk cId="1867902529" sldId="2147468895"/>
            <ac:spMk id="759" creationId="{3BADE806-97C4-C52D-6972-2F312E7D9938}"/>
          </ac:spMkLst>
        </pc:spChg>
      </pc:sldChg>
      <pc:sldChg chg="modSp mod">
        <pc:chgData name="Caroline Baker" userId="0fbdd6cc-5ea0-493c-bb40-f2bbc5de54ff" providerId="ADAL" clId="{7A398367-840A-FC48-9A3D-BBB937E4EAB6}" dt="2024-02-07T21:40:31.295" v="578" actId="20577"/>
        <pc:sldMkLst>
          <pc:docMk/>
          <pc:sldMk cId="4235738632" sldId="2147468896"/>
        </pc:sldMkLst>
        <pc:spChg chg="mod">
          <ac:chgData name="Caroline Baker" userId="0fbdd6cc-5ea0-493c-bb40-f2bbc5de54ff" providerId="ADAL" clId="{7A398367-840A-FC48-9A3D-BBB937E4EAB6}" dt="2024-02-07T21:40:11.440" v="569" actId="20577"/>
          <ac:spMkLst>
            <pc:docMk/>
            <pc:sldMk cId="4235738632" sldId="2147468896"/>
            <ac:spMk id="742" creationId="{C45ED160-274D-7D5D-6A82-81870E69F4BD}"/>
          </ac:spMkLst>
        </pc:spChg>
        <pc:spChg chg="mod">
          <ac:chgData name="Caroline Baker" userId="0fbdd6cc-5ea0-493c-bb40-f2bbc5de54ff" providerId="ADAL" clId="{7A398367-840A-FC48-9A3D-BBB937E4EAB6}" dt="2024-02-07T21:40:22.021" v="574" actId="20577"/>
          <ac:spMkLst>
            <pc:docMk/>
            <pc:sldMk cId="4235738632" sldId="2147468896"/>
            <ac:spMk id="747" creationId="{42314759-16C9-2A2E-4382-7C21536611C2}"/>
          </ac:spMkLst>
        </pc:spChg>
        <pc:spChg chg="mod">
          <ac:chgData name="Caroline Baker" userId="0fbdd6cc-5ea0-493c-bb40-f2bbc5de54ff" providerId="ADAL" clId="{7A398367-840A-FC48-9A3D-BBB937E4EAB6}" dt="2024-02-07T21:40:31.295" v="578" actId="20577"/>
          <ac:spMkLst>
            <pc:docMk/>
            <pc:sldMk cId="4235738632" sldId="2147468896"/>
            <ac:spMk id="749" creationId="{A50E6FED-D952-EBCF-AAC5-BD6B2EFDC8C8}"/>
          </ac:spMkLst>
        </pc:spChg>
        <pc:spChg chg="mod">
          <ac:chgData name="Caroline Baker" userId="0fbdd6cc-5ea0-493c-bb40-f2bbc5de54ff" providerId="ADAL" clId="{7A398367-840A-FC48-9A3D-BBB937E4EAB6}" dt="2024-02-07T20:48:18.215" v="110"/>
          <ac:spMkLst>
            <pc:docMk/>
            <pc:sldMk cId="4235738632" sldId="2147468896"/>
            <ac:spMk id="751" creationId="{3D178A78-CD9B-9B57-381E-6C79E4F668FB}"/>
          </ac:spMkLst>
        </pc:spChg>
        <pc:spChg chg="mod">
          <ac:chgData name="Caroline Baker" userId="0fbdd6cc-5ea0-493c-bb40-f2bbc5de54ff" providerId="ADAL" clId="{7A398367-840A-FC48-9A3D-BBB937E4EAB6}" dt="2024-02-07T20:56:27.893" v="150"/>
          <ac:spMkLst>
            <pc:docMk/>
            <pc:sldMk cId="4235738632" sldId="2147468896"/>
            <ac:spMk id="759" creationId="{3BADE806-97C4-C52D-6972-2F312E7D9938}"/>
          </ac:spMkLst>
        </pc:spChg>
      </pc:sldChg>
      <pc:sldChg chg="modSp mod">
        <pc:chgData name="Caroline Baker" userId="0fbdd6cc-5ea0-493c-bb40-f2bbc5de54ff" providerId="ADAL" clId="{7A398367-840A-FC48-9A3D-BBB937E4EAB6}" dt="2024-02-07T21:28:38.241" v="449" actId="14100"/>
        <pc:sldMkLst>
          <pc:docMk/>
          <pc:sldMk cId="2453433794" sldId="2147468897"/>
        </pc:sldMkLst>
        <pc:spChg chg="mod">
          <ac:chgData name="Caroline Baker" userId="0fbdd6cc-5ea0-493c-bb40-f2bbc5de54ff" providerId="ADAL" clId="{7A398367-840A-FC48-9A3D-BBB937E4EAB6}" dt="2024-02-07T18:25:47.435" v="9"/>
          <ac:spMkLst>
            <pc:docMk/>
            <pc:sldMk cId="2453433794" sldId="2147468897"/>
            <ac:spMk id="742" creationId="{C45ED160-274D-7D5D-6A82-81870E69F4BD}"/>
          </ac:spMkLst>
        </pc:spChg>
        <pc:spChg chg="mod">
          <ac:chgData name="Caroline Baker" userId="0fbdd6cc-5ea0-493c-bb40-f2bbc5de54ff" providerId="ADAL" clId="{7A398367-840A-FC48-9A3D-BBB937E4EAB6}" dt="2024-02-07T18:25:47.435" v="9"/>
          <ac:spMkLst>
            <pc:docMk/>
            <pc:sldMk cId="2453433794" sldId="2147468897"/>
            <ac:spMk id="747" creationId="{42314759-16C9-2A2E-4382-7C21536611C2}"/>
          </ac:spMkLst>
        </pc:spChg>
        <pc:spChg chg="mod">
          <ac:chgData name="Caroline Baker" userId="0fbdd6cc-5ea0-493c-bb40-f2bbc5de54ff" providerId="ADAL" clId="{7A398367-840A-FC48-9A3D-BBB937E4EAB6}" dt="2024-02-07T18:25:53.572" v="10" actId="2"/>
          <ac:spMkLst>
            <pc:docMk/>
            <pc:sldMk cId="2453433794" sldId="2147468897"/>
            <ac:spMk id="749" creationId="{A50E6FED-D952-EBCF-AAC5-BD6B2EFDC8C8}"/>
          </ac:spMkLst>
        </pc:spChg>
        <pc:spChg chg="mod">
          <ac:chgData name="Caroline Baker" userId="0fbdd6cc-5ea0-493c-bb40-f2bbc5de54ff" providerId="ADAL" clId="{7A398367-840A-FC48-9A3D-BBB937E4EAB6}" dt="2024-02-07T20:48:18.215" v="110"/>
          <ac:spMkLst>
            <pc:docMk/>
            <pc:sldMk cId="2453433794" sldId="2147468897"/>
            <ac:spMk id="751" creationId="{3D178A78-CD9B-9B57-381E-6C79E4F668FB}"/>
          </ac:spMkLst>
        </pc:spChg>
        <pc:spChg chg="mod">
          <ac:chgData name="Caroline Baker" userId="0fbdd6cc-5ea0-493c-bb40-f2bbc5de54ff" providerId="ADAL" clId="{7A398367-840A-FC48-9A3D-BBB937E4EAB6}" dt="2024-02-07T21:28:38.241" v="449" actId="14100"/>
          <ac:spMkLst>
            <pc:docMk/>
            <pc:sldMk cId="2453433794" sldId="2147468897"/>
            <ac:spMk id="759" creationId="{3BADE806-97C4-C52D-6972-2F312E7D9938}"/>
          </ac:spMkLst>
        </pc:spChg>
        <pc:spChg chg="mod">
          <ac:chgData name="Caroline Baker" userId="0fbdd6cc-5ea0-493c-bb40-f2bbc5de54ff" providerId="ADAL" clId="{7A398367-840A-FC48-9A3D-BBB937E4EAB6}" dt="2024-02-07T18:25:47.435" v="9"/>
          <ac:spMkLst>
            <pc:docMk/>
            <pc:sldMk cId="2453433794" sldId="2147468897"/>
            <ac:spMk id="760" creationId="{16F0A96B-3D1E-E8DF-AC52-46F2C43A756E}"/>
          </ac:spMkLst>
        </pc:spChg>
      </pc:sldChg>
      <pc:sldChg chg="modSp mod">
        <pc:chgData name="Caroline Baker" userId="0fbdd6cc-5ea0-493c-bb40-f2bbc5de54ff" providerId="ADAL" clId="{7A398367-840A-FC48-9A3D-BBB937E4EAB6}" dt="2024-02-07T21:29:27.099" v="507" actId="14100"/>
        <pc:sldMkLst>
          <pc:docMk/>
          <pc:sldMk cId="2116846154" sldId="2147468898"/>
        </pc:sldMkLst>
        <pc:spChg chg="mod">
          <ac:chgData name="Caroline Baker" userId="0fbdd6cc-5ea0-493c-bb40-f2bbc5de54ff" providerId="ADAL" clId="{7A398367-840A-FC48-9A3D-BBB937E4EAB6}" dt="2024-02-07T21:29:27.099" v="507" actId="14100"/>
          <ac:spMkLst>
            <pc:docMk/>
            <pc:sldMk cId="2116846154" sldId="2147468898"/>
            <ac:spMk id="16" creationId="{0D8086C0-EA81-F87B-D8C2-597714CEE04E}"/>
          </ac:spMkLst>
        </pc:spChg>
        <pc:spChg chg="mod">
          <ac:chgData name="Caroline Baker" userId="0fbdd6cc-5ea0-493c-bb40-f2bbc5de54ff" providerId="ADAL" clId="{7A398367-840A-FC48-9A3D-BBB937E4EAB6}" dt="2024-02-07T20:48:18.215" v="110"/>
          <ac:spMkLst>
            <pc:docMk/>
            <pc:sldMk cId="2116846154" sldId="2147468898"/>
            <ac:spMk id="751" creationId="{3D178A78-CD9B-9B57-381E-6C79E4F668FB}"/>
          </ac:spMkLst>
        </pc:spChg>
      </pc:sldChg>
      <pc:sldChg chg="modSp mod">
        <pc:chgData name="Caroline Baker" userId="0fbdd6cc-5ea0-493c-bb40-f2bbc5de54ff" providerId="ADAL" clId="{7A398367-840A-FC48-9A3D-BBB937E4EAB6}" dt="2024-02-08T16:02:40.410" v="617" actId="20577"/>
        <pc:sldMkLst>
          <pc:docMk/>
          <pc:sldMk cId="2232945223" sldId="2147468899"/>
        </pc:sldMkLst>
        <pc:spChg chg="mod">
          <ac:chgData name="Caroline Baker" userId="0fbdd6cc-5ea0-493c-bb40-f2bbc5de54ff" providerId="ADAL" clId="{7A398367-840A-FC48-9A3D-BBB937E4EAB6}" dt="2024-02-08T16:02:40.410" v="617" actId="20577"/>
          <ac:spMkLst>
            <pc:docMk/>
            <pc:sldMk cId="2232945223" sldId="2147468899"/>
            <ac:spMk id="742" creationId="{C45ED160-274D-7D5D-6A82-81870E69F4BD}"/>
          </ac:spMkLst>
        </pc:spChg>
        <pc:spChg chg="mod">
          <ac:chgData name="Caroline Baker" userId="0fbdd6cc-5ea0-493c-bb40-f2bbc5de54ff" providerId="ADAL" clId="{7A398367-840A-FC48-9A3D-BBB937E4EAB6}" dt="2024-02-07T21:02:27.963" v="191" actId="20577"/>
          <ac:spMkLst>
            <pc:docMk/>
            <pc:sldMk cId="2232945223" sldId="2147468899"/>
            <ac:spMk id="748" creationId="{52A172F7-40D3-395B-CCC6-FDB8624B34C3}"/>
          </ac:spMkLst>
        </pc:spChg>
      </pc:sldChg>
      <pc:sldChg chg="modSp mod">
        <pc:chgData name="Caroline Baker" userId="0fbdd6cc-5ea0-493c-bb40-f2bbc5de54ff" providerId="ADAL" clId="{7A398367-840A-FC48-9A3D-BBB937E4EAB6}" dt="2024-02-08T16:08:35.299" v="645" actId="20577"/>
        <pc:sldMkLst>
          <pc:docMk/>
          <pc:sldMk cId="2248409120" sldId="2147468900"/>
        </pc:sldMkLst>
        <pc:spChg chg="mod">
          <ac:chgData name="Caroline Baker" userId="0fbdd6cc-5ea0-493c-bb40-f2bbc5de54ff" providerId="ADAL" clId="{7A398367-840A-FC48-9A3D-BBB937E4EAB6}" dt="2024-02-08T16:08:35.299" v="645" actId="20577"/>
          <ac:spMkLst>
            <pc:docMk/>
            <pc:sldMk cId="2248409120" sldId="2147468900"/>
            <ac:spMk id="742" creationId="{C45ED160-274D-7D5D-6A82-81870E69F4BD}"/>
          </ac:spMkLst>
        </pc:spChg>
        <pc:spChg chg="mod">
          <ac:chgData name="Caroline Baker" userId="0fbdd6cc-5ea0-493c-bb40-f2bbc5de54ff" providerId="ADAL" clId="{7A398367-840A-FC48-9A3D-BBB937E4EAB6}" dt="2024-02-07T21:17:55.240" v="311" actId="1036"/>
          <ac:spMkLst>
            <pc:docMk/>
            <pc:sldMk cId="2248409120" sldId="2147468900"/>
            <ac:spMk id="747" creationId="{42314759-16C9-2A2E-4382-7C21536611C2}"/>
          </ac:spMkLst>
        </pc:spChg>
        <pc:spChg chg="mod">
          <ac:chgData name="Caroline Baker" userId="0fbdd6cc-5ea0-493c-bb40-f2bbc5de54ff" providerId="ADAL" clId="{7A398367-840A-FC48-9A3D-BBB937E4EAB6}" dt="2024-02-07T20:48:18.215" v="110"/>
          <ac:spMkLst>
            <pc:docMk/>
            <pc:sldMk cId="2248409120" sldId="2147468900"/>
            <ac:spMk id="751" creationId="{3D178A78-CD9B-9B57-381E-6C79E4F668FB}"/>
          </ac:spMkLst>
        </pc:spChg>
        <pc:spChg chg="mod">
          <ac:chgData name="Caroline Baker" userId="0fbdd6cc-5ea0-493c-bb40-f2bbc5de54ff" providerId="ADAL" clId="{7A398367-840A-FC48-9A3D-BBB937E4EAB6}" dt="2024-02-07T21:17:41.561" v="304" actId="20577"/>
          <ac:spMkLst>
            <pc:docMk/>
            <pc:sldMk cId="2248409120" sldId="2147468900"/>
            <ac:spMk id="759" creationId="{3BADE806-97C4-C52D-6972-2F312E7D9938}"/>
          </ac:spMkLst>
        </pc:spChg>
      </pc:sldChg>
      <pc:sldChg chg="modSp">
        <pc:chgData name="Caroline Baker" userId="0fbdd6cc-5ea0-493c-bb40-f2bbc5de54ff" providerId="ADAL" clId="{7A398367-840A-FC48-9A3D-BBB937E4EAB6}" dt="2024-02-07T20:56:27.893" v="150"/>
        <pc:sldMkLst>
          <pc:docMk/>
          <pc:sldMk cId="2430686647" sldId="2147468901"/>
        </pc:sldMkLst>
        <pc:spChg chg="mod">
          <ac:chgData name="Caroline Baker" userId="0fbdd6cc-5ea0-493c-bb40-f2bbc5de54ff" providerId="ADAL" clId="{7A398367-840A-FC48-9A3D-BBB937E4EAB6}" dt="2024-02-07T20:48:18.215" v="110"/>
          <ac:spMkLst>
            <pc:docMk/>
            <pc:sldMk cId="2430686647" sldId="2147468901"/>
            <ac:spMk id="751" creationId="{3D178A78-CD9B-9B57-381E-6C79E4F668FB}"/>
          </ac:spMkLst>
        </pc:spChg>
        <pc:spChg chg="mod">
          <ac:chgData name="Caroline Baker" userId="0fbdd6cc-5ea0-493c-bb40-f2bbc5de54ff" providerId="ADAL" clId="{7A398367-840A-FC48-9A3D-BBB937E4EAB6}" dt="2024-02-07T20:56:27.893" v="150"/>
          <ac:spMkLst>
            <pc:docMk/>
            <pc:sldMk cId="2430686647" sldId="2147468901"/>
            <ac:spMk id="759" creationId="{3BADE806-97C4-C52D-6972-2F312E7D9938}"/>
          </ac:spMkLst>
        </pc:spChg>
      </pc:sldChg>
      <pc:sldChg chg="modSp mod">
        <pc:chgData name="Caroline Baker" userId="0fbdd6cc-5ea0-493c-bb40-f2bbc5de54ff" providerId="ADAL" clId="{7A398367-840A-FC48-9A3D-BBB937E4EAB6}" dt="2024-02-08T16:11:57.889" v="665"/>
        <pc:sldMkLst>
          <pc:docMk/>
          <pc:sldMk cId="1153436385" sldId="2147468902"/>
        </pc:sldMkLst>
        <pc:spChg chg="mod">
          <ac:chgData name="Caroline Baker" userId="0fbdd6cc-5ea0-493c-bb40-f2bbc5de54ff" providerId="ADAL" clId="{7A398367-840A-FC48-9A3D-BBB937E4EAB6}" dt="2024-02-08T16:11:57.889" v="665"/>
          <ac:spMkLst>
            <pc:docMk/>
            <pc:sldMk cId="1153436385" sldId="2147468902"/>
            <ac:spMk id="742" creationId="{C45ED160-274D-7D5D-6A82-81870E69F4BD}"/>
          </ac:spMkLst>
        </pc:spChg>
        <pc:spChg chg="mod">
          <ac:chgData name="Caroline Baker" userId="0fbdd6cc-5ea0-493c-bb40-f2bbc5de54ff" providerId="ADAL" clId="{7A398367-840A-FC48-9A3D-BBB937E4EAB6}" dt="2024-02-07T21:23:31.708" v="374" actId="20577"/>
          <ac:spMkLst>
            <pc:docMk/>
            <pc:sldMk cId="1153436385" sldId="2147468902"/>
            <ac:spMk id="747" creationId="{42314759-16C9-2A2E-4382-7C21536611C2}"/>
          </ac:spMkLst>
        </pc:spChg>
        <pc:spChg chg="mod">
          <ac:chgData name="Caroline Baker" userId="0fbdd6cc-5ea0-493c-bb40-f2bbc5de54ff" providerId="ADAL" clId="{7A398367-840A-FC48-9A3D-BBB937E4EAB6}" dt="2024-02-07T21:23:43.391" v="376" actId="20577"/>
          <ac:spMkLst>
            <pc:docMk/>
            <pc:sldMk cId="1153436385" sldId="2147468902"/>
            <ac:spMk id="749" creationId="{A50E6FED-D952-EBCF-AAC5-BD6B2EFDC8C8}"/>
          </ac:spMkLst>
        </pc:spChg>
        <pc:spChg chg="mod">
          <ac:chgData name="Caroline Baker" userId="0fbdd6cc-5ea0-493c-bb40-f2bbc5de54ff" providerId="ADAL" clId="{7A398367-840A-FC48-9A3D-BBB937E4EAB6}" dt="2024-02-07T20:48:18.215" v="110"/>
          <ac:spMkLst>
            <pc:docMk/>
            <pc:sldMk cId="1153436385" sldId="2147468902"/>
            <ac:spMk id="751" creationId="{3D178A78-CD9B-9B57-381E-6C79E4F668FB}"/>
          </ac:spMkLst>
        </pc:spChg>
        <pc:spChg chg="mod">
          <ac:chgData name="Caroline Baker" userId="0fbdd6cc-5ea0-493c-bb40-f2bbc5de54ff" providerId="ADAL" clId="{7A398367-840A-FC48-9A3D-BBB937E4EAB6}" dt="2024-02-07T20:56:27.893" v="150"/>
          <ac:spMkLst>
            <pc:docMk/>
            <pc:sldMk cId="1153436385" sldId="2147468902"/>
            <ac:spMk id="759" creationId="{3BADE806-97C4-C52D-6972-2F312E7D9938}"/>
          </ac:spMkLst>
        </pc:spChg>
      </pc:sldChg>
      <pc:sldChg chg="modSp mod">
        <pc:chgData name="Caroline Baker" userId="0fbdd6cc-5ea0-493c-bb40-f2bbc5de54ff" providerId="ADAL" clId="{7A398367-840A-FC48-9A3D-BBB937E4EAB6}" dt="2024-02-07T21:29:09.092" v="480" actId="20577"/>
        <pc:sldMkLst>
          <pc:docMk/>
          <pc:sldMk cId="313406063" sldId="2147468903"/>
        </pc:sldMkLst>
        <pc:spChg chg="mod">
          <ac:chgData name="Caroline Baker" userId="0fbdd6cc-5ea0-493c-bb40-f2bbc5de54ff" providerId="ADAL" clId="{7A398367-840A-FC48-9A3D-BBB937E4EAB6}" dt="2024-02-07T21:14:35.856" v="286" actId="20577"/>
          <ac:spMkLst>
            <pc:docMk/>
            <pc:sldMk cId="313406063" sldId="2147468903"/>
            <ac:spMk id="747" creationId="{42314759-16C9-2A2E-4382-7C21536611C2}"/>
          </ac:spMkLst>
        </pc:spChg>
        <pc:spChg chg="mod">
          <ac:chgData name="Caroline Baker" userId="0fbdd6cc-5ea0-493c-bb40-f2bbc5de54ff" providerId="ADAL" clId="{7A398367-840A-FC48-9A3D-BBB937E4EAB6}" dt="2024-02-07T21:15:05.837" v="288" actId="20577"/>
          <ac:spMkLst>
            <pc:docMk/>
            <pc:sldMk cId="313406063" sldId="2147468903"/>
            <ac:spMk id="748" creationId="{52A172F7-40D3-395B-CCC6-FDB8624B34C3}"/>
          </ac:spMkLst>
        </pc:spChg>
        <pc:spChg chg="mod">
          <ac:chgData name="Caroline Baker" userId="0fbdd6cc-5ea0-493c-bb40-f2bbc5de54ff" providerId="ADAL" clId="{7A398367-840A-FC48-9A3D-BBB937E4EAB6}" dt="2024-02-07T21:15:18.929" v="292" actId="20577"/>
          <ac:spMkLst>
            <pc:docMk/>
            <pc:sldMk cId="313406063" sldId="2147468903"/>
            <ac:spMk id="749" creationId="{A50E6FED-D952-EBCF-AAC5-BD6B2EFDC8C8}"/>
          </ac:spMkLst>
        </pc:spChg>
        <pc:spChg chg="mod">
          <ac:chgData name="Caroline Baker" userId="0fbdd6cc-5ea0-493c-bb40-f2bbc5de54ff" providerId="ADAL" clId="{7A398367-840A-FC48-9A3D-BBB937E4EAB6}" dt="2024-02-07T20:48:18.215" v="110"/>
          <ac:spMkLst>
            <pc:docMk/>
            <pc:sldMk cId="313406063" sldId="2147468903"/>
            <ac:spMk id="751" creationId="{3D178A78-CD9B-9B57-381E-6C79E4F668FB}"/>
          </ac:spMkLst>
        </pc:spChg>
        <pc:spChg chg="mod">
          <ac:chgData name="Caroline Baker" userId="0fbdd6cc-5ea0-493c-bb40-f2bbc5de54ff" providerId="ADAL" clId="{7A398367-840A-FC48-9A3D-BBB937E4EAB6}" dt="2024-02-07T21:29:09.092" v="480" actId="20577"/>
          <ac:spMkLst>
            <pc:docMk/>
            <pc:sldMk cId="313406063" sldId="2147468903"/>
            <ac:spMk id="759" creationId="{3BADE806-97C4-C52D-6972-2F312E7D9938}"/>
          </ac:spMkLst>
        </pc:spChg>
      </pc:sldChg>
      <pc:sldChg chg="modSp">
        <pc:chgData name="Caroline Baker" userId="0fbdd6cc-5ea0-493c-bb40-f2bbc5de54ff" providerId="ADAL" clId="{7A398367-840A-FC48-9A3D-BBB937E4EAB6}" dt="2024-02-07T20:48:18.215" v="110"/>
        <pc:sldMkLst>
          <pc:docMk/>
          <pc:sldMk cId="3678232873" sldId="2147468904"/>
        </pc:sldMkLst>
        <pc:spChg chg="mod">
          <ac:chgData name="Caroline Baker" userId="0fbdd6cc-5ea0-493c-bb40-f2bbc5de54ff" providerId="ADAL" clId="{7A398367-840A-FC48-9A3D-BBB937E4EAB6}" dt="2024-02-07T20:48:18.215" v="110"/>
          <ac:spMkLst>
            <pc:docMk/>
            <pc:sldMk cId="3678232873" sldId="2147468904"/>
            <ac:spMk id="751" creationId="{3D178A78-CD9B-9B57-381E-6C79E4F668FB}"/>
          </ac:spMkLst>
        </pc:spChg>
      </pc:sldChg>
      <pc:sldChg chg="modSp mod">
        <pc:chgData name="Caroline Baker" userId="0fbdd6cc-5ea0-493c-bb40-f2bbc5de54ff" providerId="ADAL" clId="{7A398367-840A-FC48-9A3D-BBB937E4EAB6}" dt="2024-02-07T20:48:18.215" v="110"/>
        <pc:sldMkLst>
          <pc:docMk/>
          <pc:sldMk cId="858779424" sldId="2147468906"/>
        </pc:sldMkLst>
        <pc:spChg chg="mod">
          <ac:chgData name="Caroline Baker" userId="0fbdd6cc-5ea0-493c-bb40-f2bbc5de54ff" providerId="ADAL" clId="{7A398367-840A-FC48-9A3D-BBB937E4EAB6}" dt="2024-02-07T18:27:06.020" v="19" actId="313"/>
          <ac:spMkLst>
            <pc:docMk/>
            <pc:sldMk cId="858779424" sldId="2147468906"/>
            <ac:spMk id="749" creationId="{A50E6FED-D952-EBCF-AAC5-BD6B2EFDC8C8}"/>
          </ac:spMkLst>
        </pc:spChg>
        <pc:spChg chg="mod">
          <ac:chgData name="Caroline Baker" userId="0fbdd6cc-5ea0-493c-bb40-f2bbc5de54ff" providerId="ADAL" clId="{7A398367-840A-FC48-9A3D-BBB937E4EAB6}" dt="2024-02-07T20:48:18.215" v="110"/>
          <ac:spMkLst>
            <pc:docMk/>
            <pc:sldMk cId="858779424" sldId="2147468906"/>
            <ac:spMk id="751" creationId="{3D178A78-CD9B-9B57-381E-6C79E4F668FB}"/>
          </ac:spMkLst>
        </pc:spChg>
      </pc:sldChg>
      <pc:sldChg chg="modSp mod">
        <pc:chgData name="Caroline Baker" userId="0fbdd6cc-5ea0-493c-bb40-f2bbc5de54ff" providerId="ADAL" clId="{7A398367-840A-FC48-9A3D-BBB937E4EAB6}" dt="2024-02-07T20:48:18.215" v="110"/>
        <pc:sldMkLst>
          <pc:docMk/>
          <pc:sldMk cId="3949028895" sldId="2147468907"/>
        </pc:sldMkLst>
        <pc:spChg chg="mod">
          <ac:chgData name="Caroline Baker" userId="0fbdd6cc-5ea0-493c-bb40-f2bbc5de54ff" providerId="ADAL" clId="{7A398367-840A-FC48-9A3D-BBB937E4EAB6}" dt="2024-02-07T20:42:51.773" v="78" actId="20577"/>
          <ac:spMkLst>
            <pc:docMk/>
            <pc:sldMk cId="3949028895" sldId="2147468907"/>
            <ac:spMk id="747" creationId="{42314759-16C9-2A2E-4382-7C21536611C2}"/>
          </ac:spMkLst>
        </pc:spChg>
        <pc:spChg chg="mod">
          <ac:chgData name="Caroline Baker" userId="0fbdd6cc-5ea0-493c-bb40-f2bbc5de54ff" providerId="ADAL" clId="{7A398367-840A-FC48-9A3D-BBB937E4EAB6}" dt="2024-02-07T20:48:18.215" v="110"/>
          <ac:spMkLst>
            <pc:docMk/>
            <pc:sldMk cId="3949028895" sldId="2147468907"/>
            <ac:spMk id="751" creationId="{3D178A78-CD9B-9B57-381E-6C79E4F668FB}"/>
          </ac:spMkLst>
        </pc:spChg>
        <pc:spChg chg="mod">
          <ac:chgData name="Caroline Baker" userId="0fbdd6cc-5ea0-493c-bb40-f2bbc5de54ff" providerId="ADAL" clId="{7A398367-840A-FC48-9A3D-BBB937E4EAB6}" dt="2024-02-07T18:25:31.226" v="5"/>
          <ac:spMkLst>
            <pc:docMk/>
            <pc:sldMk cId="3949028895" sldId="2147468907"/>
            <ac:spMk id="759" creationId="{3BADE806-97C4-C52D-6972-2F312E7D9938}"/>
          </ac:spMkLst>
        </pc:spChg>
      </pc:sldChg>
      <pc:sldChg chg="modSp mod">
        <pc:chgData name="Caroline Baker" userId="0fbdd6cc-5ea0-493c-bb40-f2bbc5de54ff" providerId="ADAL" clId="{7A398367-840A-FC48-9A3D-BBB937E4EAB6}" dt="2024-02-08T16:02:49.632" v="619" actId="20577"/>
        <pc:sldMkLst>
          <pc:docMk/>
          <pc:sldMk cId="472951147" sldId="2147468908"/>
        </pc:sldMkLst>
        <pc:spChg chg="mod">
          <ac:chgData name="Caroline Baker" userId="0fbdd6cc-5ea0-493c-bb40-f2bbc5de54ff" providerId="ADAL" clId="{7A398367-840A-FC48-9A3D-BBB937E4EAB6}" dt="2024-02-08T16:02:49.632" v="619" actId="20577"/>
          <ac:spMkLst>
            <pc:docMk/>
            <pc:sldMk cId="472951147" sldId="2147468908"/>
            <ac:spMk id="742" creationId="{C45ED160-274D-7D5D-6A82-81870E69F4BD}"/>
          </ac:spMkLst>
        </pc:spChg>
        <pc:spChg chg="mod">
          <ac:chgData name="Caroline Baker" userId="0fbdd6cc-5ea0-493c-bb40-f2bbc5de54ff" providerId="ADAL" clId="{7A398367-840A-FC48-9A3D-BBB937E4EAB6}" dt="2024-02-07T20:48:18.215" v="110"/>
          <ac:spMkLst>
            <pc:docMk/>
            <pc:sldMk cId="472951147" sldId="2147468908"/>
            <ac:spMk id="751" creationId="{3D178A78-CD9B-9B57-381E-6C79E4F668FB}"/>
          </ac:spMkLst>
        </pc:spChg>
        <pc:spChg chg="mod">
          <ac:chgData name="Caroline Baker" userId="0fbdd6cc-5ea0-493c-bb40-f2bbc5de54ff" providerId="ADAL" clId="{7A398367-840A-FC48-9A3D-BBB937E4EAB6}" dt="2024-02-07T21:03:02.305" v="206" actId="20577"/>
          <ac:spMkLst>
            <pc:docMk/>
            <pc:sldMk cId="472951147" sldId="2147468908"/>
            <ac:spMk id="759" creationId="{3BADE806-97C4-C52D-6972-2F312E7D9938}"/>
          </ac:spMkLst>
        </pc:spChg>
      </pc:sldChg>
      <pc:sldChg chg="modSp mod">
        <pc:chgData name="Caroline Baker" userId="0fbdd6cc-5ea0-493c-bb40-f2bbc5de54ff" providerId="ADAL" clId="{7A398367-840A-FC48-9A3D-BBB937E4EAB6}" dt="2024-02-08T15:57:11.491" v="586"/>
        <pc:sldMkLst>
          <pc:docMk/>
          <pc:sldMk cId="2016685746" sldId="2147468909"/>
        </pc:sldMkLst>
        <pc:spChg chg="mod">
          <ac:chgData name="Caroline Baker" userId="0fbdd6cc-5ea0-493c-bb40-f2bbc5de54ff" providerId="ADAL" clId="{7A398367-840A-FC48-9A3D-BBB937E4EAB6}" dt="2024-02-08T15:57:11.491" v="586"/>
          <ac:spMkLst>
            <pc:docMk/>
            <pc:sldMk cId="2016685746" sldId="2147468909"/>
            <ac:spMk id="742" creationId="{C45ED160-274D-7D5D-6A82-81870E69F4BD}"/>
          </ac:spMkLst>
        </pc:spChg>
        <pc:spChg chg="mod">
          <ac:chgData name="Caroline Baker" userId="0fbdd6cc-5ea0-493c-bb40-f2bbc5de54ff" providerId="ADAL" clId="{7A398367-840A-FC48-9A3D-BBB937E4EAB6}" dt="2024-02-07T18:26:02.154" v="12" actId="313"/>
          <ac:spMkLst>
            <pc:docMk/>
            <pc:sldMk cId="2016685746" sldId="2147468909"/>
            <ac:spMk id="747" creationId="{42314759-16C9-2A2E-4382-7C21536611C2}"/>
          </ac:spMkLst>
        </pc:spChg>
        <pc:spChg chg="mod">
          <ac:chgData name="Caroline Baker" userId="0fbdd6cc-5ea0-493c-bb40-f2bbc5de54ff" providerId="ADAL" clId="{7A398367-840A-FC48-9A3D-BBB937E4EAB6}" dt="2024-02-07T18:26:03.988" v="13" actId="2"/>
          <ac:spMkLst>
            <pc:docMk/>
            <pc:sldMk cId="2016685746" sldId="2147468909"/>
            <ac:spMk id="748" creationId="{52A172F7-40D3-395B-CCC6-FDB8624B34C3}"/>
          </ac:spMkLst>
        </pc:spChg>
        <pc:spChg chg="mod">
          <ac:chgData name="Caroline Baker" userId="0fbdd6cc-5ea0-493c-bb40-f2bbc5de54ff" providerId="ADAL" clId="{7A398367-840A-FC48-9A3D-BBB937E4EAB6}" dt="2024-02-07T18:26:07.163" v="14" actId="313"/>
          <ac:spMkLst>
            <pc:docMk/>
            <pc:sldMk cId="2016685746" sldId="2147468909"/>
            <ac:spMk id="749" creationId="{A50E6FED-D952-EBCF-AAC5-BD6B2EFDC8C8}"/>
          </ac:spMkLst>
        </pc:spChg>
        <pc:spChg chg="mod">
          <ac:chgData name="Caroline Baker" userId="0fbdd6cc-5ea0-493c-bb40-f2bbc5de54ff" providerId="ADAL" clId="{7A398367-840A-FC48-9A3D-BBB937E4EAB6}" dt="2024-02-07T20:48:18.215" v="110"/>
          <ac:spMkLst>
            <pc:docMk/>
            <pc:sldMk cId="2016685746" sldId="2147468909"/>
            <ac:spMk id="751" creationId="{3D178A78-CD9B-9B57-381E-6C79E4F668FB}"/>
          </ac:spMkLst>
        </pc:spChg>
        <pc:spChg chg="mod">
          <ac:chgData name="Caroline Baker" userId="0fbdd6cc-5ea0-493c-bb40-f2bbc5de54ff" providerId="ADAL" clId="{7A398367-840A-FC48-9A3D-BBB937E4EAB6}" dt="2024-02-07T20:47:26.898" v="100" actId="20577"/>
          <ac:spMkLst>
            <pc:docMk/>
            <pc:sldMk cId="2016685746" sldId="2147468909"/>
            <ac:spMk id="759" creationId="{3BADE806-97C4-C52D-6972-2F312E7D9938}"/>
          </ac:spMkLst>
        </pc:spChg>
      </pc:sldChg>
      <pc:sldChg chg="modSp mod">
        <pc:chgData name="Caroline Baker" userId="0fbdd6cc-5ea0-493c-bb40-f2bbc5de54ff" providerId="ADAL" clId="{7A398367-840A-FC48-9A3D-BBB937E4EAB6}" dt="2024-02-08T15:59:43.277" v="592"/>
        <pc:sldMkLst>
          <pc:docMk/>
          <pc:sldMk cId="2184222418" sldId="2147468910"/>
        </pc:sldMkLst>
        <pc:spChg chg="mod">
          <ac:chgData name="Caroline Baker" userId="0fbdd6cc-5ea0-493c-bb40-f2bbc5de54ff" providerId="ADAL" clId="{7A398367-840A-FC48-9A3D-BBB937E4EAB6}" dt="2024-02-08T15:59:43.277" v="592"/>
          <ac:spMkLst>
            <pc:docMk/>
            <pc:sldMk cId="2184222418" sldId="2147468910"/>
            <ac:spMk id="742" creationId="{C45ED160-274D-7D5D-6A82-81870E69F4BD}"/>
          </ac:spMkLst>
        </pc:spChg>
        <pc:spChg chg="mod">
          <ac:chgData name="Caroline Baker" userId="0fbdd6cc-5ea0-493c-bb40-f2bbc5de54ff" providerId="ADAL" clId="{7A398367-840A-FC48-9A3D-BBB937E4EAB6}" dt="2024-02-07T20:53:23.121" v="129" actId="20577"/>
          <ac:spMkLst>
            <pc:docMk/>
            <pc:sldMk cId="2184222418" sldId="2147468910"/>
            <ac:spMk id="747" creationId="{42314759-16C9-2A2E-4382-7C21536611C2}"/>
          </ac:spMkLst>
        </pc:spChg>
        <pc:spChg chg="mod">
          <ac:chgData name="Caroline Baker" userId="0fbdd6cc-5ea0-493c-bb40-f2bbc5de54ff" providerId="ADAL" clId="{7A398367-840A-FC48-9A3D-BBB937E4EAB6}" dt="2024-02-07T20:53:28.676" v="132" actId="20577"/>
          <ac:spMkLst>
            <pc:docMk/>
            <pc:sldMk cId="2184222418" sldId="2147468910"/>
            <ac:spMk id="748" creationId="{52A172F7-40D3-395B-CCC6-FDB8624B34C3}"/>
          </ac:spMkLst>
        </pc:spChg>
        <pc:spChg chg="mod">
          <ac:chgData name="Caroline Baker" userId="0fbdd6cc-5ea0-493c-bb40-f2bbc5de54ff" providerId="ADAL" clId="{7A398367-840A-FC48-9A3D-BBB937E4EAB6}" dt="2024-02-07T20:53:39.427" v="138" actId="20577"/>
          <ac:spMkLst>
            <pc:docMk/>
            <pc:sldMk cId="2184222418" sldId="2147468910"/>
            <ac:spMk id="749" creationId="{A50E6FED-D952-EBCF-AAC5-BD6B2EFDC8C8}"/>
          </ac:spMkLst>
        </pc:spChg>
        <pc:spChg chg="mod">
          <ac:chgData name="Caroline Baker" userId="0fbdd6cc-5ea0-493c-bb40-f2bbc5de54ff" providerId="ADAL" clId="{7A398367-840A-FC48-9A3D-BBB937E4EAB6}" dt="2024-02-07T20:48:18.215" v="110"/>
          <ac:spMkLst>
            <pc:docMk/>
            <pc:sldMk cId="2184222418" sldId="2147468910"/>
            <ac:spMk id="751" creationId="{3D178A78-CD9B-9B57-381E-6C79E4F668FB}"/>
          </ac:spMkLst>
        </pc:spChg>
        <pc:spChg chg="mod">
          <ac:chgData name="Caroline Baker" userId="0fbdd6cc-5ea0-493c-bb40-f2bbc5de54ff" providerId="ADAL" clId="{7A398367-840A-FC48-9A3D-BBB937E4EAB6}" dt="2024-02-07T20:53:20.045" v="127" actId="20577"/>
          <ac:spMkLst>
            <pc:docMk/>
            <pc:sldMk cId="2184222418" sldId="2147468910"/>
            <ac:spMk id="759" creationId="{3BADE806-97C4-C52D-6972-2F312E7D9938}"/>
          </ac:spMkLst>
        </pc:spChg>
      </pc:sldChg>
      <pc:sldChg chg="modSp mod">
        <pc:chgData name="Caroline Baker" userId="0fbdd6cc-5ea0-493c-bb40-f2bbc5de54ff" providerId="ADAL" clId="{7A398367-840A-FC48-9A3D-BBB937E4EAB6}" dt="2024-02-08T15:57:18.230" v="587"/>
        <pc:sldMkLst>
          <pc:docMk/>
          <pc:sldMk cId="1554375173" sldId="2147468911"/>
        </pc:sldMkLst>
        <pc:spChg chg="mod">
          <ac:chgData name="Caroline Baker" userId="0fbdd6cc-5ea0-493c-bb40-f2bbc5de54ff" providerId="ADAL" clId="{7A398367-840A-FC48-9A3D-BBB937E4EAB6}" dt="2024-02-07T20:47:43.680" v="104" actId="20577"/>
          <ac:spMkLst>
            <pc:docMk/>
            <pc:sldMk cId="1554375173" sldId="2147468911"/>
            <ac:spMk id="14" creationId="{BFC0AFF0-506D-14AB-F317-AD77E1A68812}"/>
          </ac:spMkLst>
        </pc:spChg>
        <pc:spChg chg="mod">
          <ac:chgData name="Caroline Baker" userId="0fbdd6cc-5ea0-493c-bb40-f2bbc5de54ff" providerId="ADAL" clId="{7A398367-840A-FC48-9A3D-BBB937E4EAB6}" dt="2024-02-08T15:57:18.230" v="587"/>
          <ac:spMkLst>
            <pc:docMk/>
            <pc:sldMk cId="1554375173" sldId="2147468911"/>
            <ac:spMk id="742" creationId="{C45ED160-274D-7D5D-6A82-81870E69F4BD}"/>
          </ac:spMkLst>
        </pc:spChg>
        <pc:spChg chg="mod">
          <ac:chgData name="Caroline Baker" userId="0fbdd6cc-5ea0-493c-bb40-f2bbc5de54ff" providerId="ADAL" clId="{7A398367-840A-FC48-9A3D-BBB937E4EAB6}" dt="2024-02-07T20:47:46.687" v="109" actId="20577"/>
          <ac:spMkLst>
            <pc:docMk/>
            <pc:sldMk cId="1554375173" sldId="2147468911"/>
            <ac:spMk id="747" creationId="{42314759-16C9-2A2E-4382-7C21536611C2}"/>
          </ac:spMkLst>
        </pc:spChg>
        <pc:spChg chg="mod">
          <ac:chgData name="Caroline Baker" userId="0fbdd6cc-5ea0-493c-bb40-f2bbc5de54ff" providerId="ADAL" clId="{7A398367-840A-FC48-9A3D-BBB937E4EAB6}" dt="2024-02-07T20:48:18.215" v="110"/>
          <ac:spMkLst>
            <pc:docMk/>
            <pc:sldMk cId="1554375173" sldId="2147468911"/>
            <ac:spMk id="751" creationId="{3D178A78-CD9B-9B57-381E-6C79E4F668FB}"/>
          </ac:spMkLst>
        </pc:spChg>
        <pc:spChg chg="mod">
          <ac:chgData name="Caroline Baker" userId="0fbdd6cc-5ea0-493c-bb40-f2bbc5de54ff" providerId="ADAL" clId="{7A398367-840A-FC48-9A3D-BBB937E4EAB6}" dt="2024-02-07T20:47:41.659" v="102" actId="20577"/>
          <ac:spMkLst>
            <pc:docMk/>
            <pc:sldMk cId="1554375173" sldId="2147468911"/>
            <ac:spMk id="759" creationId="{3BADE806-97C4-C52D-6972-2F312E7D9938}"/>
          </ac:spMkLst>
        </pc:spChg>
      </pc:sldChg>
      <pc:sldChg chg="modSp mod">
        <pc:chgData name="Caroline Baker" userId="0fbdd6cc-5ea0-493c-bb40-f2bbc5de54ff" providerId="ADAL" clId="{7A398367-840A-FC48-9A3D-BBB937E4EAB6}" dt="2024-02-08T16:10:32.571" v="654"/>
        <pc:sldMkLst>
          <pc:docMk/>
          <pc:sldMk cId="4268936896" sldId="2147468912"/>
        </pc:sldMkLst>
        <pc:spChg chg="mod">
          <ac:chgData name="Caroline Baker" userId="0fbdd6cc-5ea0-493c-bb40-f2bbc5de54ff" providerId="ADAL" clId="{7A398367-840A-FC48-9A3D-BBB937E4EAB6}" dt="2024-02-08T16:10:32.571" v="654"/>
          <ac:spMkLst>
            <pc:docMk/>
            <pc:sldMk cId="4268936896" sldId="2147468912"/>
            <ac:spMk id="742" creationId="{C45ED160-274D-7D5D-6A82-81870E69F4BD}"/>
          </ac:spMkLst>
        </pc:spChg>
        <pc:spChg chg="mod">
          <ac:chgData name="Caroline Baker" userId="0fbdd6cc-5ea0-493c-bb40-f2bbc5de54ff" providerId="ADAL" clId="{7A398367-840A-FC48-9A3D-BBB937E4EAB6}" dt="2024-02-07T21:22:05.313" v="354" actId="20577"/>
          <ac:spMkLst>
            <pc:docMk/>
            <pc:sldMk cId="4268936896" sldId="2147468912"/>
            <ac:spMk id="749" creationId="{A50E6FED-D952-EBCF-AAC5-BD6B2EFDC8C8}"/>
          </ac:spMkLst>
        </pc:spChg>
        <pc:spChg chg="mod">
          <ac:chgData name="Caroline Baker" userId="0fbdd6cc-5ea0-493c-bb40-f2bbc5de54ff" providerId="ADAL" clId="{7A398367-840A-FC48-9A3D-BBB937E4EAB6}" dt="2024-02-07T20:48:18.215" v="110"/>
          <ac:spMkLst>
            <pc:docMk/>
            <pc:sldMk cId="4268936896" sldId="2147468912"/>
            <ac:spMk id="751" creationId="{3D178A78-CD9B-9B57-381E-6C79E4F668FB}"/>
          </ac:spMkLst>
        </pc:spChg>
      </pc:sldChg>
      <pc:sldChg chg="modSp mod">
        <pc:chgData name="Caroline Baker" userId="0fbdd6cc-5ea0-493c-bb40-f2bbc5de54ff" providerId="ADAL" clId="{7A398367-840A-FC48-9A3D-BBB937E4EAB6}" dt="2024-02-07T21:28:53.612" v="468" actId="14100"/>
        <pc:sldMkLst>
          <pc:docMk/>
          <pc:sldMk cId="3092949193" sldId="2147468913"/>
        </pc:sldMkLst>
        <pc:spChg chg="mod">
          <ac:chgData name="Caroline Baker" userId="0fbdd6cc-5ea0-493c-bb40-f2bbc5de54ff" providerId="ADAL" clId="{7A398367-840A-FC48-9A3D-BBB937E4EAB6}" dt="2024-02-07T21:28:53.612" v="468" actId="14100"/>
          <ac:spMkLst>
            <pc:docMk/>
            <pc:sldMk cId="3092949193" sldId="2147468913"/>
            <ac:spMk id="15" creationId="{A1151290-72B1-A1A7-C178-1C07009D8563}"/>
          </ac:spMkLst>
        </pc:spChg>
        <pc:spChg chg="mod">
          <ac:chgData name="Caroline Baker" userId="0fbdd6cc-5ea0-493c-bb40-f2bbc5de54ff" providerId="ADAL" clId="{7A398367-840A-FC48-9A3D-BBB937E4EAB6}" dt="2024-02-07T20:48:18.215" v="110"/>
          <ac:spMkLst>
            <pc:docMk/>
            <pc:sldMk cId="3092949193" sldId="2147468913"/>
            <ac:spMk id="751" creationId="{3D178A78-CD9B-9B57-381E-6C79E4F668FB}"/>
          </ac:spMkLst>
        </pc:spChg>
      </pc:sldChg>
      <pc:sldChg chg="modSp mod">
        <pc:chgData name="Caroline Baker" userId="0fbdd6cc-5ea0-493c-bb40-f2bbc5de54ff" providerId="ADAL" clId="{7A398367-840A-FC48-9A3D-BBB937E4EAB6}" dt="2024-02-07T20:51:50.587" v="116" actId="20577"/>
        <pc:sldMkLst>
          <pc:docMk/>
          <pc:sldMk cId="3004861192" sldId="2147468914"/>
        </pc:sldMkLst>
        <pc:spChg chg="mod">
          <ac:chgData name="Caroline Baker" userId="0fbdd6cc-5ea0-493c-bb40-f2bbc5de54ff" providerId="ADAL" clId="{7A398367-840A-FC48-9A3D-BBB937E4EAB6}" dt="2024-02-07T20:51:50.587" v="116" actId="20577"/>
          <ac:spMkLst>
            <pc:docMk/>
            <pc:sldMk cId="3004861192" sldId="2147468914"/>
            <ac:spMk id="748" creationId="{52A172F7-40D3-395B-CCC6-FDB8624B34C3}"/>
          </ac:spMkLst>
        </pc:spChg>
        <pc:spChg chg="mod">
          <ac:chgData name="Caroline Baker" userId="0fbdd6cc-5ea0-493c-bb40-f2bbc5de54ff" providerId="ADAL" clId="{7A398367-840A-FC48-9A3D-BBB937E4EAB6}" dt="2024-02-07T20:48:18.215" v="110"/>
          <ac:spMkLst>
            <pc:docMk/>
            <pc:sldMk cId="3004861192" sldId="2147468914"/>
            <ac:spMk id="751" creationId="{3D178A78-CD9B-9B57-381E-6C79E4F668FB}"/>
          </ac:spMkLst>
        </pc:spChg>
        <pc:spChg chg="mod">
          <ac:chgData name="Caroline Baker" userId="0fbdd6cc-5ea0-493c-bb40-f2bbc5de54ff" providerId="ADAL" clId="{7A398367-840A-FC48-9A3D-BBB937E4EAB6}" dt="2024-02-07T20:51:45.533" v="113" actId="6549"/>
          <ac:spMkLst>
            <pc:docMk/>
            <pc:sldMk cId="3004861192" sldId="2147468914"/>
            <ac:spMk id="759" creationId="{3BADE806-97C4-C52D-6972-2F312E7D9938}"/>
          </ac:spMkLst>
        </pc:spChg>
      </pc:sldChg>
      <pc:sldChg chg="modSp mod">
        <pc:chgData name="Caroline Baker" userId="0fbdd6cc-5ea0-493c-bb40-f2bbc5de54ff" providerId="ADAL" clId="{7A398367-840A-FC48-9A3D-BBB937E4EAB6}" dt="2024-02-08T16:09:27.326" v="648"/>
        <pc:sldMkLst>
          <pc:docMk/>
          <pc:sldMk cId="102752066" sldId="2147468915"/>
        </pc:sldMkLst>
        <pc:spChg chg="mod">
          <ac:chgData name="Caroline Baker" userId="0fbdd6cc-5ea0-493c-bb40-f2bbc5de54ff" providerId="ADAL" clId="{7A398367-840A-FC48-9A3D-BBB937E4EAB6}" dt="2024-02-08T16:09:27.326" v="648"/>
          <ac:spMkLst>
            <pc:docMk/>
            <pc:sldMk cId="102752066" sldId="2147468915"/>
            <ac:spMk id="742" creationId="{C45ED160-274D-7D5D-6A82-81870E69F4BD}"/>
          </ac:spMkLst>
        </pc:spChg>
        <pc:spChg chg="mod">
          <ac:chgData name="Caroline Baker" userId="0fbdd6cc-5ea0-493c-bb40-f2bbc5de54ff" providerId="ADAL" clId="{7A398367-840A-FC48-9A3D-BBB937E4EAB6}" dt="2024-02-07T21:20:05.330" v="335" actId="20577"/>
          <ac:spMkLst>
            <pc:docMk/>
            <pc:sldMk cId="102752066" sldId="2147468915"/>
            <ac:spMk id="747" creationId="{42314759-16C9-2A2E-4382-7C21536611C2}"/>
          </ac:spMkLst>
        </pc:spChg>
        <pc:spChg chg="mod">
          <ac:chgData name="Caroline Baker" userId="0fbdd6cc-5ea0-493c-bb40-f2bbc5de54ff" providerId="ADAL" clId="{7A398367-840A-FC48-9A3D-BBB937E4EAB6}" dt="2024-02-07T21:20:11.466" v="338" actId="20577"/>
          <ac:spMkLst>
            <pc:docMk/>
            <pc:sldMk cId="102752066" sldId="2147468915"/>
            <ac:spMk id="748" creationId="{52A172F7-40D3-395B-CCC6-FDB8624B34C3}"/>
          </ac:spMkLst>
        </pc:spChg>
        <pc:spChg chg="mod">
          <ac:chgData name="Caroline Baker" userId="0fbdd6cc-5ea0-493c-bb40-f2bbc5de54ff" providerId="ADAL" clId="{7A398367-840A-FC48-9A3D-BBB937E4EAB6}" dt="2024-02-07T20:48:18.215" v="110"/>
          <ac:spMkLst>
            <pc:docMk/>
            <pc:sldMk cId="102752066" sldId="2147468915"/>
            <ac:spMk id="751" creationId="{3D178A78-CD9B-9B57-381E-6C79E4F668FB}"/>
          </ac:spMkLst>
        </pc:spChg>
        <pc:spChg chg="mod">
          <ac:chgData name="Caroline Baker" userId="0fbdd6cc-5ea0-493c-bb40-f2bbc5de54ff" providerId="ADAL" clId="{7A398367-840A-FC48-9A3D-BBB937E4EAB6}" dt="2024-02-07T18:29:46.770" v="46" actId="20577"/>
          <ac:spMkLst>
            <pc:docMk/>
            <pc:sldMk cId="102752066" sldId="2147468915"/>
            <ac:spMk id="759" creationId="{3BADE806-97C4-C52D-6972-2F312E7D9938}"/>
          </ac:spMkLst>
        </pc:spChg>
        <pc:spChg chg="mod">
          <ac:chgData name="Caroline Baker" userId="0fbdd6cc-5ea0-493c-bb40-f2bbc5de54ff" providerId="ADAL" clId="{7A398367-840A-FC48-9A3D-BBB937E4EAB6}" dt="2024-02-07T21:20:00.909" v="332" actId="20577"/>
          <ac:spMkLst>
            <pc:docMk/>
            <pc:sldMk cId="102752066" sldId="2147468915"/>
            <ac:spMk id="760" creationId="{16F0A96B-3D1E-E8DF-AC52-46F2C43A756E}"/>
          </ac:spMkLst>
        </pc:spChg>
      </pc:sldChg>
      <pc:sldChg chg="modSp mod">
        <pc:chgData name="Caroline Baker" userId="0fbdd6cc-5ea0-493c-bb40-f2bbc5de54ff" providerId="ADAL" clId="{7A398367-840A-FC48-9A3D-BBB937E4EAB6}" dt="2024-02-07T21:24:25.428" v="379"/>
        <pc:sldMkLst>
          <pc:docMk/>
          <pc:sldMk cId="1558548121" sldId="2147468916"/>
        </pc:sldMkLst>
        <pc:spChg chg="mod">
          <ac:chgData name="Caroline Baker" userId="0fbdd6cc-5ea0-493c-bb40-f2bbc5de54ff" providerId="ADAL" clId="{7A398367-840A-FC48-9A3D-BBB937E4EAB6}" dt="2024-02-07T21:24:25.428" v="379"/>
          <ac:spMkLst>
            <pc:docMk/>
            <pc:sldMk cId="1558548121" sldId="2147468916"/>
            <ac:spMk id="12" creationId="{912DC3D6-505F-8D92-A6AF-E338CBC27D7C}"/>
          </ac:spMkLst>
        </pc:spChg>
        <pc:spChg chg="mod">
          <ac:chgData name="Caroline Baker" userId="0fbdd6cc-5ea0-493c-bb40-f2bbc5de54ff" providerId="ADAL" clId="{7A398367-840A-FC48-9A3D-BBB937E4EAB6}" dt="2024-02-07T20:48:18.215" v="110"/>
          <ac:spMkLst>
            <pc:docMk/>
            <pc:sldMk cId="1558548121" sldId="2147468916"/>
            <ac:spMk id="751" creationId="{3D178A78-CD9B-9B57-381E-6C79E4F668FB}"/>
          </ac:spMkLst>
        </pc:spChg>
        <pc:spChg chg="mod">
          <ac:chgData name="Caroline Baker" userId="0fbdd6cc-5ea0-493c-bb40-f2bbc5de54ff" providerId="ADAL" clId="{7A398367-840A-FC48-9A3D-BBB937E4EAB6}" dt="2024-02-07T21:24:22.106" v="378" actId="20577"/>
          <ac:spMkLst>
            <pc:docMk/>
            <pc:sldMk cId="1558548121" sldId="2147468916"/>
            <ac:spMk id="759" creationId="{3BADE806-97C4-C52D-6972-2F312E7D9938}"/>
          </ac:spMkLst>
        </pc:spChg>
      </pc:sldChg>
      <pc:sldChg chg="modSp mod">
        <pc:chgData name="Caroline Baker" userId="0fbdd6cc-5ea0-493c-bb40-f2bbc5de54ff" providerId="ADAL" clId="{7A398367-840A-FC48-9A3D-BBB937E4EAB6}" dt="2024-02-08T15:57:43.193" v="590"/>
        <pc:sldMkLst>
          <pc:docMk/>
          <pc:sldMk cId="16694295" sldId="2147468917"/>
        </pc:sldMkLst>
        <pc:spChg chg="mod">
          <ac:chgData name="Caroline Baker" userId="0fbdd6cc-5ea0-493c-bb40-f2bbc5de54ff" providerId="ADAL" clId="{7A398367-840A-FC48-9A3D-BBB937E4EAB6}" dt="2024-02-07T20:52:10.380" v="118" actId="20577"/>
          <ac:spMkLst>
            <pc:docMk/>
            <pc:sldMk cId="16694295" sldId="2147468917"/>
            <ac:spMk id="14" creationId="{3F2AE522-97C3-C929-F606-41D50E97A510}"/>
          </ac:spMkLst>
        </pc:spChg>
        <pc:spChg chg="mod">
          <ac:chgData name="Caroline Baker" userId="0fbdd6cc-5ea0-493c-bb40-f2bbc5de54ff" providerId="ADAL" clId="{7A398367-840A-FC48-9A3D-BBB937E4EAB6}" dt="2024-02-08T15:57:43.193" v="590"/>
          <ac:spMkLst>
            <pc:docMk/>
            <pc:sldMk cId="16694295" sldId="2147468917"/>
            <ac:spMk id="742" creationId="{C45ED160-274D-7D5D-6A82-81870E69F4BD}"/>
          </ac:spMkLst>
        </pc:spChg>
        <pc:spChg chg="mod">
          <ac:chgData name="Caroline Baker" userId="0fbdd6cc-5ea0-493c-bb40-f2bbc5de54ff" providerId="ADAL" clId="{7A398367-840A-FC48-9A3D-BBB937E4EAB6}" dt="2024-02-07T20:48:18.215" v="110"/>
          <ac:spMkLst>
            <pc:docMk/>
            <pc:sldMk cId="16694295" sldId="2147468917"/>
            <ac:spMk id="751" creationId="{3D178A78-CD9B-9B57-381E-6C79E4F668FB}"/>
          </ac:spMkLst>
        </pc:spChg>
      </pc:sldChg>
      <pc:sldChg chg="modSp mod">
        <pc:chgData name="Caroline Baker" userId="0fbdd6cc-5ea0-493c-bb40-f2bbc5de54ff" providerId="ADAL" clId="{7A398367-840A-FC48-9A3D-BBB937E4EAB6}" dt="2024-02-07T21:06:14.112" v="243" actId="6549"/>
        <pc:sldMkLst>
          <pc:docMk/>
          <pc:sldMk cId="583622629" sldId="2147468918"/>
        </pc:sldMkLst>
        <pc:spChg chg="mod">
          <ac:chgData name="Caroline Baker" userId="0fbdd6cc-5ea0-493c-bb40-f2bbc5de54ff" providerId="ADAL" clId="{7A398367-840A-FC48-9A3D-BBB937E4EAB6}" dt="2024-02-07T21:05:56.987" v="237" actId="20577"/>
          <ac:spMkLst>
            <pc:docMk/>
            <pc:sldMk cId="583622629" sldId="2147468918"/>
            <ac:spMk id="747" creationId="{42314759-16C9-2A2E-4382-7C21536611C2}"/>
          </ac:spMkLst>
        </pc:spChg>
        <pc:spChg chg="mod">
          <ac:chgData name="Caroline Baker" userId="0fbdd6cc-5ea0-493c-bb40-f2bbc5de54ff" providerId="ADAL" clId="{7A398367-840A-FC48-9A3D-BBB937E4EAB6}" dt="2024-02-07T21:06:14.112" v="243" actId="6549"/>
          <ac:spMkLst>
            <pc:docMk/>
            <pc:sldMk cId="583622629" sldId="2147468918"/>
            <ac:spMk id="748" creationId="{52A172F7-40D3-395B-CCC6-FDB8624B34C3}"/>
          </ac:spMkLst>
        </pc:spChg>
        <pc:spChg chg="mod">
          <ac:chgData name="Caroline Baker" userId="0fbdd6cc-5ea0-493c-bb40-f2bbc5de54ff" providerId="ADAL" clId="{7A398367-840A-FC48-9A3D-BBB937E4EAB6}" dt="2024-02-07T20:48:18.215" v="110"/>
          <ac:spMkLst>
            <pc:docMk/>
            <pc:sldMk cId="583622629" sldId="2147468918"/>
            <ac:spMk id="751" creationId="{3D178A78-CD9B-9B57-381E-6C79E4F668FB}"/>
          </ac:spMkLst>
        </pc:spChg>
      </pc:sldChg>
      <pc:sldChg chg="modSp">
        <pc:chgData name="Caroline Baker" userId="0fbdd6cc-5ea0-493c-bb40-f2bbc5de54ff" providerId="ADAL" clId="{7A398367-840A-FC48-9A3D-BBB937E4EAB6}" dt="2024-02-07T20:48:18.215" v="110"/>
        <pc:sldMkLst>
          <pc:docMk/>
          <pc:sldMk cId="2121904252" sldId="2147468919"/>
        </pc:sldMkLst>
        <pc:spChg chg="mod">
          <ac:chgData name="Caroline Baker" userId="0fbdd6cc-5ea0-493c-bb40-f2bbc5de54ff" providerId="ADAL" clId="{7A398367-840A-FC48-9A3D-BBB937E4EAB6}" dt="2024-02-07T20:48:18.215" v="110"/>
          <ac:spMkLst>
            <pc:docMk/>
            <pc:sldMk cId="2121904252" sldId="2147468919"/>
            <ac:spMk id="751" creationId="{3D178A78-CD9B-9B57-381E-6C79E4F668FB}"/>
          </ac:spMkLst>
        </pc:spChg>
      </pc:sldChg>
      <pc:sldChg chg="modSp mod">
        <pc:chgData name="Caroline Baker" userId="0fbdd6cc-5ea0-493c-bb40-f2bbc5de54ff" providerId="ADAL" clId="{7A398367-840A-FC48-9A3D-BBB937E4EAB6}" dt="2024-02-08T16:15:08.732" v="696"/>
        <pc:sldMkLst>
          <pc:docMk/>
          <pc:sldMk cId="3258180438" sldId="2147468922"/>
        </pc:sldMkLst>
        <pc:spChg chg="mod">
          <ac:chgData name="Caroline Baker" userId="0fbdd6cc-5ea0-493c-bb40-f2bbc5de54ff" providerId="ADAL" clId="{7A398367-840A-FC48-9A3D-BBB937E4EAB6}" dt="2024-02-08T16:15:08.732" v="696"/>
          <ac:spMkLst>
            <pc:docMk/>
            <pc:sldMk cId="3258180438" sldId="2147468922"/>
            <ac:spMk id="742" creationId="{C45ED160-274D-7D5D-6A82-81870E69F4BD}"/>
          </ac:spMkLst>
        </pc:spChg>
        <pc:spChg chg="mod">
          <ac:chgData name="Caroline Baker" userId="0fbdd6cc-5ea0-493c-bb40-f2bbc5de54ff" providerId="ADAL" clId="{7A398367-840A-FC48-9A3D-BBB937E4EAB6}" dt="2024-02-07T18:31:39.783" v="64" actId="20577"/>
          <ac:spMkLst>
            <pc:docMk/>
            <pc:sldMk cId="3258180438" sldId="2147468922"/>
            <ac:spMk id="747" creationId="{42314759-16C9-2A2E-4382-7C21536611C2}"/>
          </ac:spMkLst>
        </pc:spChg>
        <pc:spChg chg="mod">
          <ac:chgData name="Caroline Baker" userId="0fbdd6cc-5ea0-493c-bb40-f2bbc5de54ff" providerId="ADAL" clId="{7A398367-840A-FC48-9A3D-BBB937E4EAB6}" dt="2024-02-07T20:48:18.215" v="110"/>
          <ac:spMkLst>
            <pc:docMk/>
            <pc:sldMk cId="3258180438" sldId="2147468922"/>
            <ac:spMk id="751" creationId="{3D178A78-CD9B-9B57-381E-6C79E4F668FB}"/>
          </ac:spMkLst>
        </pc:spChg>
        <pc:spChg chg="mod">
          <ac:chgData name="Caroline Baker" userId="0fbdd6cc-5ea0-493c-bb40-f2bbc5de54ff" providerId="ADAL" clId="{7A398367-840A-FC48-9A3D-BBB937E4EAB6}" dt="2024-02-07T20:56:27.893" v="150"/>
          <ac:spMkLst>
            <pc:docMk/>
            <pc:sldMk cId="3258180438" sldId="2147468922"/>
            <ac:spMk id="759" creationId="{3BADE806-97C4-C52D-6972-2F312E7D9938}"/>
          </ac:spMkLst>
        </pc:spChg>
      </pc:sldChg>
      <pc:sldChg chg="modSp">
        <pc:chgData name="Caroline Baker" userId="0fbdd6cc-5ea0-493c-bb40-f2bbc5de54ff" providerId="ADAL" clId="{7A398367-840A-FC48-9A3D-BBB937E4EAB6}" dt="2024-02-08T16:12:28.519" v="667"/>
        <pc:sldMkLst>
          <pc:docMk/>
          <pc:sldMk cId="1078767029" sldId="2147468924"/>
        </pc:sldMkLst>
        <pc:spChg chg="mod">
          <ac:chgData name="Caroline Baker" userId="0fbdd6cc-5ea0-493c-bb40-f2bbc5de54ff" providerId="ADAL" clId="{7A398367-840A-FC48-9A3D-BBB937E4EAB6}" dt="2024-02-08T16:12:28.519" v="667"/>
          <ac:spMkLst>
            <pc:docMk/>
            <pc:sldMk cId="1078767029" sldId="2147468924"/>
            <ac:spMk id="742" creationId="{C45ED160-274D-7D5D-6A82-81870E69F4BD}"/>
          </ac:spMkLst>
        </pc:spChg>
        <pc:spChg chg="mod">
          <ac:chgData name="Caroline Baker" userId="0fbdd6cc-5ea0-493c-bb40-f2bbc5de54ff" providerId="ADAL" clId="{7A398367-840A-FC48-9A3D-BBB937E4EAB6}" dt="2024-02-07T20:48:18.215" v="110"/>
          <ac:spMkLst>
            <pc:docMk/>
            <pc:sldMk cId="1078767029" sldId="2147468924"/>
            <ac:spMk id="751" creationId="{3D178A78-CD9B-9B57-381E-6C79E4F668FB}"/>
          </ac:spMkLst>
        </pc:spChg>
        <pc:spChg chg="mod">
          <ac:chgData name="Caroline Baker" userId="0fbdd6cc-5ea0-493c-bb40-f2bbc5de54ff" providerId="ADAL" clId="{7A398367-840A-FC48-9A3D-BBB937E4EAB6}" dt="2024-02-07T21:25:08.532" v="380"/>
          <ac:spMkLst>
            <pc:docMk/>
            <pc:sldMk cId="1078767029" sldId="2147468924"/>
            <ac:spMk id="759" creationId="{3BADE806-97C4-C52D-6972-2F312E7D9938}"/>
          </ac:spMkLst>
        </pc:spChg>
      </pc:sldChg>
      <pc:sldChg chg="modSp mod">
        <pc:chgData name="Caroline Baker" userId="0fbdd6cc-5ea0-493c-bb40-f2bbc5de54ff" providerId="ADAL" clId="{7A398367-840A-FC48-9A3D-BBB937E4EAB6}" dt="2024-02-08T16:12:35.531" v="672" actId="20577"/>
        <pc:sldMkLst>
          <pc:docMk/>
          <pc:sldMk cId="168745645" sldId="2147468925"/>
        </pc:sldMkLst>
        <pc:spChg chg="mod">
          <ac:chgData name="Caroline Baker" userId="0fbdd6cc-5ea0-493c-bb40-f2bbc5de54ff" providerId="ADAL" clId="{7A398367-840A-FC48-9A3D-BBB937E4EAB6}" dt="2024-02-07T21:25:18.585" v="381" actId="20577"/>
          <ac:spMkLst>
            <pc:docMk/>
            <pc:sldMk cId="168745645" sldId="2147468925"/>
            <ac:spMk id="14" creationId="{C43E43E1-D52E-68F0-1634-6F05F5BCAE9B}"/>
          </ac:spMkLst>
        </pc:spChg>
        <pc:spChg chg="mod">
          <ac:chgData name="Caroline Baker" userId="0fbdd6cc-5ea0-493c-bb40-f2bbc5de54ff" providerId="ADAL" clId="{7A398367-840A-FC48-9A3D-BBB937E4EAB6}" dt="2024-02-08T16:12:35.531" v="672" actId="20577"/>
          <ac:spMkLst>
            <pc:docMk/>
            <pc:sldMk cId="168745645" sldId="2147468925"/>
            <ac:spMk id="742" creationId="{C45ED160-274D-7D5D-6A82-81870E69F4BD}"/>
          </ac:spMkLst>
        </pc:spChg>
        <pc:spChg chg="mod">
          <ac:chgData name="Caroline Baker" userId="0fbdd6cc-5ea0-493c-bb40-f2bbc5de54ff" providerId="ADAL" clId="{7A398367-840A-FC48-9A3D-BBB937E4EAB6}" dt="2024-02-07T21:25:30.268" v="385" actId="6549"/>
          <ac:spMkLst>
            <pc:docMk/>
            <pc:sldMk cId="168745645" sldId="2147468925"/>
            <ac:spMk id="748" creationId="{52A172F7-40D3-395B-CCC6-FDB8624B34C3}"/>
          </ac:spMkLst>
        </pc:spChg>
        <pc:spChg chg="mod">
          <ac:chgData name="Caroline Baker" userId="0fbdd6cc-5ea0-493c-bb40-f2bbc5de54ff" providerId="ADAL" clId="{7A398367-840A-FC48-9A3D-BBB937E4EAB6}" dt="2024-02-07T20:48:18.215" v="110"/>
          <ac:spMkLst>
            <pc:docMk/>
            <pc:sldMk cId="168745645" sldId="2147468925"/>
            <ac:spMk id="751" creationId="{3D178A78-CD9B-9B57-381E-6C79E4F668FB}"/>
          </ac:spMkLst>
        </pc:spChg>
      </pc:sldChg>
      <pc:sldChg chg="modSp mod">
        <pc:chgData name="Caroline Baker" userId="0fbdd6cc-5ea0-493c-bb40-f2bbc5de54ff" providerId="ADAL" clId="{7A398367-840A-FC48-9A3D-BBB937E4EAB6}" dt="2024-02-08T16:13:38.214" v="680"/>
        <pc:sldMkLst>
          <pc:docMk/>
          <pc:sldMk cId="3608563650" sldId="2147468926"/>
        </pc:sldMkLst>
        <pc:spChg chg="mod">
          <ac:chgData name="Caroline Baker" userId="0fbdd6cc-5ea0-493c-bb40-f2bbc5de54ff" providerId="ADAL" clId="{7A398367-840A-FC48-9A3D-BBB937E4EAB6}" dt="2024-02-08T16:13:38.214" v="680"/>
          <ac:spMkLst>
            <pc:docMk/>
            <pc:sldMk cId="3608563650" sldId="2147468926"/>
            <ac:spMk id="742" creationId="{C45ED160-274D-7D5D-6A82-81870E69F4BD}"/>
          </ac:spMkLst>
        </pc:spChg>
        <pc:spChg chg="mod">
          <ac:chgData name="Caroline Baker" userId="0fbdd6cc-5ea0-493c-bb40-f2bbc5de54ff" providerId="ADAL" clId="{7A398367-840A-FC48-9A3D-BBB937E4EAB6}" dt="2024-02-07T20:48:18.215" v="110"/>
          <ac:spMkLst>
            <pc:docMk/>
            <pc:sldMk cId="3608563650" sldId="2147468926"/>
            <ac:spMk id="751" creationId="{3D178A78-CD9B-9B57-381E-6C79E4F668FB}"/>
          </ac:spMkLst>
        </pc:spChg>
        <pc:spChg chg="mod">
          <ac:chgData name="Caroline Baker" userId="0fbdd6cc-5ea0-493c-bb40-f2bbc5de54ff" providerId="ADAL" clId="{7A398367-840A-FC48-9A3D-BBB937E4EAB6}" dt="2024-02-07T21:32:20.126" v="527" actId="20577"/>
          <ac:spMkLst>
            <pc:docMk/>
            <pc:sldMk cId="3608563650" sldId="2147468926"/>
            <ac:spMk id="759" creationId="{3BADE806-97C4-C52D-6972-2F312E7D9938}"/>
          </ac:spMkLst>
        </pc:spChg>
      </pc:sldChg>
      <pc:sldChg chg="modSp mod">
        <pc:chgData name="Caroline Baker" userId="0fbdd6cc-5ea0-493c-bb40-f2bbc5de54ff" providerId="ADAL" clId="{7A398367-840A-FC48-9A3D-BBB937E4EAB6}" dt="2024-02-08T16:13:43.240" v="681" actId="20577"/>
        <pc:sldMkLst>
          <pc:docMk/>
          <pc:sldMk cId="3780769030" sldId="2147468927"/>
        </pc:sldMkLst>
        <pc:spChg chg="mod">
          <ac:chgData name="Caroline Baker" userId="0fbdd6cc-5ea0-493c-bb40-f2bbc5de54ff" providerId="ADAL" clId="{7A398367-840A-FC48-9A3D-BBB937E4EAB6}" dt="2024-02-08T16:13:43.240" v="681" actId="20577"/>
          <ac:spMkLst>
            <pc:docMk/>
            <pc:sldMk cId="3780769030" sldId="2147468927"/>
            <ac:spMk id="742" creationId="{C45ED160-274D-7D5D-6A82-81870E69F4BD}"/>
          </ac:spMkLst>
        </pc:spChg>
        <pc:spChg chg="mod">
          <ac:chgData name="Caroline Baker" userId="0fbdd6cc-5ea0-493c-bb40-f2bbc5de54ff" providerId="ADAL" clId="{7A398367-840A-FC48-9A3D-BBB937E4EAB6}" dt="2024-02-07T21:32:46.009" v="530" actId="20577"/>
          <ac:spMkLst>
            <pc:docMk/>
            <pc:sldMk cId="3780769030" sldId="2147468927"/>
            <ac:spMk id="747" creationId="{42314759-16C9-2A2E-4382-7C21536611C2}"/>
          </ac:spMkLst>
        </pc:spChg>
        <pc:spChg chg="mod">
          <ac:chgData name="Caroline Baker" userId="0fbdd6cc-5ea0-493c-bb40-f2bbc5de54ff" providerId="ADAL" clId="{7A398367-840A-FC48-9A3D-BBB937E4EAB6}" dt="2024-02-07T21:32:59.325" v="533" actId="20577"/>
          <ac:spMkLst>
            <pc:docMk/>
            <pc:sldMk cId="3780769030" sldId="2147468927"/>
            <ac:spMk id="748" creationId="{52A172F7-40D3-395B-CCC6-FDB8624B34C3}"/>
          </ac:spMkLst>
        </pc:spChg>
        <pc:spChg chg="mod">
          <ac:chgData name="Caroline Baker" userId="0fbdd6cc-5ea0-493c-bb40-f2bbc5de54ff" providerId="ADAL" clId="{7A398367-840A-FC48-9A3D-BBB937E4EAB6}" dt="2024-02-07T21:33:02.116" v="536" actId="20577"/>
          <ac:spMkLst>
            <pc:docMk/>
            <pc:sldMk cId="3780769030" sldId="2147468927"/>
            <ac:spMk id="749" creationId="{A50E6FED-D952-EBCF-AAC5-BD6B2EFDC8C8}"/>
          </ac:spMkLst>
        </pc:spChg>
        <pc:spChg chg="mod">
          <ac:chgData name="Caroline Baker" userId="0fbdd6cc-5ea0-493c-bb40-f2bbc5de54ff" providerId="ADAL" clId="{7A398367-840A-FC48-9A3D-BBB937E4EAB6}" dt="2024-02-07T20:48:18.215" v="110"/>
          <ac:spMkLst>
            <pc:docMk/>
            <pc:sldMk cId="3780769030" sldId="2147468927"/>
            <ac:spMk id="751" creationId="{3D178A78-CD9B-9B57-381E-6C79E4F668FB}"/>
          </ac:spMkLst>
        </pc:spChg>
        <pc:spChg chg="mod">
          <ac:chgData name="Caroline Baker" userId="0fbdd6cc-5ea0-493c-bb40-f2bbc5de54ff" providerId="ADAL" clId="{7A398367-840A-FC48-9A3D-BBB937E4EAB6}" dt="2024-02-07T21:32:37.275" v="528" actId="20577"/>
          <ac:spMkLst>
            <pc:docMk/>
            <pc:sldMk cId="3780769030" sldId="2147468927"/>
            <ac:spMk id="759" creationId="{3BADE806-97C4-C52D-6972-2F312E7D9938}"/>
          </ac:spMkLst>
        </pc:spChg>
      </pc:sldChg>
      <pc:sldChg chg="modSp mod">
        <pc:chgData name="Caroline Baker" userId="0fbdd6cc-5ea0-493c-bb40-f2bbc5de54ff" providerId="ADAL" clId="{7A398367-840A-FC48-9A3D-BBB937E4EAB6}" dt="2024-02-08T15:59:14.124" v="591"/>
        <pc:sldMkLst>
          <pc:docMk/>
          <pc:sldMk cId="990424558" sldId="2147468928"/>
        </pc:sldMkLst>
        <pc:spChg chg="mod">
          <ac:chgData name="Caroline Baker" userId="0fbdd6cc-5ea0-493c-bb40-f2bbc5de54ff" providerId="ADAL" clId="{7A398367-840A-FC48-9A3D-BBB937E4EAB6}" dt="2024-02-08T15:59:14.124" v="591"/>
          <ac:spMkLst>
            <pc:docMk/>
            <pc:sldMk cId="990424558" sldId="2147468928"/>
            <ac:spMk id="742" creationId="{C45ED160-274D-7D5D-6A82-81870E69F4BD}"/>
          </ac:spMkLst>
        </pc:spChg>
        <pc:spChg chg="mod">
          <ac:chgData name="Caroline Baker" userId="0fbdd6cc-5ea0-493c-bb40-f2bbc5de54ff" providerId="ADAL" clId="{7A398367-840A-FC48-9A3D-BBB937E4EAB6}" dt="2024-02-07T20:52:51.865" v="122" actId="20577"/>
          <ac:spMkLst>
            <pc:docMk/>
            <pc:sldMk cId="990424558" sldId="2147468928"/>
            <ac:spMk id="748" creationId="{52A172F7-40D3-395B-CCC6-FDB8624B34C3}"/>
          </ac:spMkLst>
        </pc:spChg>
        <pc:spChg chg="mod">
          <ac:chgData name="Caroline Baker" userId="0fbdd6cc-5ea0-493c-bb40-f2bbc5de54ff" providerId="ADAL" clId="{7A398367-840A-FC48-9A3D-BBB937E4EAB6}" dt="2024-02-07T20:48:18.215" v="110"/>
          <ac:spMkLst>
            <pc:docMk/>
            <pc:sldMk cId="990424558" sldId="2147468928"/>
            <ac:spMk id="751" creationId="{3D178A78-CD9B-9B57-381E-6C79E4F668FB}"/>
          </ac:spMkLst>
        </pc:spChg>
      </pc:sldChg>
      <pc:sldChg chg="modSp mod">
        <pc:chgData name="Caroline Baker" userId="0fbdd6cc-5ea0-493c-bb40-f2bbc5de54ff" providerId="ADAL" clId="{7A398367-840A-FC48-9A3D-BBB937E4EAB6}" dt="2024-02-07T21:25:44.240" v="389" actId="20577"/>
        <pc:sldMkLst>
          <pc:docMk/>
          <pc:sldMk cId="2730260713" sldId="2147468929"/>
        </pc:sldMkLst>
        <pc:spChg chg="mod">
          <ac:chgData name="Caroline Baker" userId="0fbdd6cc-5ea0-493c-bb40-f2bbc5de54ff" providerId="ADAL" clId="{7A398367-840A-FC48-9A3D-BBB937E4EAB6}" dt="2024-02-07T21:25:37.504" v="387" actId="20577"/>
          <ac:spMkLst>
            <pc:docMk/>
            <pc:sldMk cId="2730260713" sldId="2147468929"/>
            <ac:spMk id="742" creationId="{C45ED160-274D-7D5D-6A82-81870E69F4BD}"/>
          </ac:spMkLst>
        </pc:spChg>
        <pc:spChg chg="mod">
          <ac:chgData name="Caroline Baker" userId="0fbdd6cc-5ea0-493c-bb40-f2bbc5de54ff" providerId="ADAL" clId="{7A398367-840A-FC48-9A3D-BBB937E4EAB6}" dt="2024-02-07T21:25:44.240" v="389" actId="20577"/>
          <ac:spMkLst>
            <pc:docMk/>
            <pc:sldMk cId="2730260713" sldId="2147468929"/>
            <ac:spMk id="747" creationId="{42314759-16C9-2A2E-4382-7C21536611C2}"/>
          </ac:spMkLst>
        </pc:spChg>
        <pc:spChg chg="mod">
          <ac:chgData name="Caroline Baker" userId="0fbdd6cc-5ea0-493c-bb40-f2bbc5de54ff" providerId="ADAL" clId="{7A398367-840A-FC48-9A3D-BBB937E4EAB6}" dt="2024-02-07T20:48:18.215" v="110"/>
          <ac:spMkLst>
            <pc:docMk/>
            <pc:sldMk cId="2730260713" sldId="2147468929"/>
            <ac:spMk id="751" creationId="{3D178A78-CD9B-9B57-381E-6C79E4F668FB}"/>
          </ac:spMkLst>
        </pc:spChg>
      </pc:sldChg>
      <pc:sldChg chg="modSp mod">
        <pc:chgData name="Caroline Baker" userId="0fbdd6cc-5ea0-493c-bb40-f2bbc5de54ff" providerId="ADAL" clId="{7A398367-840A-FC48-9A3D-BBB937E4EAB6}" dt="2024-02-07T20:48:18.215" v="110"/>
        <pc:sldMkLst>
          <pc:docMk/>
          <pc:sldMk cId="67973762" sldId="2147468930"/>
        </pc:sldMkLst>
        <pc:spChg chg="mod">
          <ac:chgData name="Caroline Baker" userId="0fbdd6cc-5ea0-493c-bb40-f2bbc5de54ff" providerId="ADAL" clId="{7A398367-840A-FC48-9A3D-BBB937E4EAB6}" dt="2024-02-07T18:25:35.822" v="6" actId="313"/>
          <ac:spMkLst>
            <pc:docMk/>
            <pc:sldMk cId="67973762" sldId="2147468930"/>
            <ac:spMk id="15" creationId="{2C3B46AB-DE4D-36CB-753C-B5E5C1BAFE72}"/>
          </ac:spMkLst>
        </pc:spChg>
        <pc:spChg chg="mod">
          <ac:chgData name="Caroline Baker" userId="0fbdd6cc-5ea0-493c-bb40-f2bbc5de54ff" providerId="ADAL" clId="{7A398367-840A-FC48-9A3D-BBB937E4EAB6}" dt="2024-02-07T20:48:18.215" v="110"/>
          <ac:spMkLst>
            <pc:docMk/>
            <pc:sldMk cId="67973762" sldId="2147468930"/>
            <ac:spMk id="751" creationId="{3D178A78-CD9B-9B57-381E-6C79E4F668FB}"/>
          </ac:spMkLst>
        </pc:spChg>
        <pc:spChg chg="mod">
          <ac:chgData name="Caroline Baker" userId="0fbdd6cc-5ea0-493c-bb40-f2bbc5de54ff" providerId="ADAL" clId="{7A398367-840A-FC48-9A3D-BBB937E4EAB6}" dt="2024-02-07T20:44:20.996" v="79" actId="20577"/>
          <ac:spMkLst>
            <pc:docMk/>
            <pc:sldMk cId="67973762" sldId="2147468930"/>
            <ac:spMk id="759" creationId="{3BADE806-97C4-C52D-6972-2F312E7D9938}"/>
          </ac:spMkLst>
        </pc:spChg>
      </pc:sldChg>
      <pc:sldChg chg="modSp mod">
        <pc:chgData name="Caroline Baker" userId="0fbdd6cc-5ea0-493c-bb40-f2bbc5de54ff" providerId="ADAL" clId="{7A398367-840A-FC48-9A3D-BBB937E4EAB6}" dt="2024-02-08T16:14:24.519" v="686"/>
        <pc:sldMkLst>
          <pc:docMk/>
          <pc:sldMk cId="461031619" sldId="2147468932"/>
        </pc:sldMkLst>
        <pc:spChg chg="mod">
          <ac:chgData name="Caroline Baker" userId="0fbdd6cc-5ea0-493c-bb40-f2bbc5de54ff" providerId="ADAL" clId="{7A398367-840A-FC48-9A3D-BBB937E4EAB6}" dt="2024-02-08T16:14:24.519" v="686"/>
          <ac:spMkLst>
            <pc:docMk/>
            <pc:sldMk cId="461031619" sldId="2147468932"/>
            <ac:spMk id="742" creationId="{C45ED160-274D-7D5D-6A82-81870E69F4BD}"/>
          </ac:spMkLst>
        </pc:spChg>
        <pc:spChg chg="mod">
          <ac:chgData name="Caroline Baker" userId="0fbdd6cc-5ea0-493c-bb40-f2bbc5de54ff" providerId="ADAL" clId="{7A398367-840A-FC48-9A3D-BBB937E4EAB6}" dt="2024-02-07T20:48:18.215" v="110"/>
          <ac:spMkLst>
            <pc:docMk/>
            <pc:sldMk cId="461031619" sldId="2147468932"/>
            <ac:spMk id="751" creationId="{3D178A78-CD9B-9B57-381E-6C79E4F668FB}"/>
          </ac:spMkLst>
        </pc:spChg>
        <pc:spChg chg="mod">
          <ac:chgData name="Caroline Baker" userId="0fbdd6cc-5ea0-493c-bb40-f2bbc5de54ff" providerId="ADAL" clId="{7A398367-840A-FC48-9A3D-BBB937E4EAB6}" dt="2024-02-07T21:38:55.082" v="565" actId="1035"/>
          <ac:spMkLst>
            <pc:docMk/>
            <pc:sldMk cId="461031619" sldId="2147468932"/>
            <ac:spMk id="755" creationId="{2C81BA28-BF01-1AFB-6F1B-C3A82383E1EE}"/>
          </ac:spMkLst>
        </pc:spChg>
      </pc:sldChg>
      <pc:sldChg chg="modSp">
        <pc:chgData name="Caroline Baker" userId="0fbdd6cc-5ea0-493c-bb40-f2bbc5de54ff" providerId="ADAL" clId="{7A398367-840A-FC48-9A3D-BBB937E4EAB6}" dt="2024-02-08T16:14:18.154" v="685"/>
        <pc:sldMkLst>
          <pc:docMk/>
          <pc:sldMk cId="825567547" sldId="2147468934"/>
        </pc:sldMkLst>
        <pc:spChg chg="mod">
          <ac:chgData name="Caroline Baker" userId="0fbdd6cc-5ea0-493c-bb40-f2bbc5de54ff" providerId="ADAL" clId="{7A398367-840A-FC48-9A3D-BBB937E4EAB6}" dt="2024-02-08T16:14:18.154" v="685"/>
          <ac:spMkLst>
            <pc:docMk/>
            <pc:sldMk cId="825567547" sldId="2147468934"/>
            <ac:spMk id="742" creationId="{C45ED160-274D-7D5D-6A82-81870E69F4BD}"/>
          </ac:spMkLst>
        </pc:spChg>
        <pc:spChg chg="mod">
          <ac:chgData name="Caroline Baker" userId="0fbdd6cc-5ea0-493c-bb40-f2bbc5de54ff" providerId="ADAL" clId="{7A398367-840A-FC48-9A3D-BBB937E4EAB6}" dt="2024-02-07T20:48:18.215" v="110"/>
          <ac:spMkLst>
            <pc:docMk/>
            <pc:sldMk cId="825567547" sldId="2147468934"/>
            <ac:spMk id="751" creationId="{3D178A78-CD9B-9B57-381E-6C79E4F668FB}"/>
          </ac:spMkLst>
        </pc:spChg>
      </pc:sldChg>
      <pc:sldChg chg="modSp mod">
        <pc:chgData name="Caroline Baker" userId="0fbdd6cc-5ea0-493c-bb40-f2bbc5de54ff" providerId="ADAL" clId="{7A398367-840A-FC48-9A3D-BBB937E4EAB6}" dt="2024-02-08T15:59:49.447" v="593"/>
        <pc:sldMkLst>
          <pc:docMk/>
          <pc:sldMk cId="3613853464" sldId="2147468935"/>
        </pc:sldMkLst>
        <pc:spChg chg="mod">
          <ac:chgData name="Caroline Baker" userId="0fbdd6cc-5ea0-493c-bb40-f2bbc5de54ff" providerId="ADAL" clId="{7A398367-840A-FC48-9A3D-BBB937E4EAB6}" dt="2024-02-08T15:59:49.447" v="593"/>
          <ac:spMkLst>
            <pc:docMk/>
            <pc:sldMk cId="3613853464" sldId="2147468935"/>
            <ac:spMk id="742" creationId="{C45ED160-274D-7D5D-6A82-81870E69F4BD}"/>
          </ac:spMkLst>
        </pc:spChg>
        <pc:spChg chg="mod">
          <ac:chgData name="Caroline Baker" userId="0fbdd6cc-5ea0-493c-bb40-f2bbc5de54ff" providerId="ADAL" clId="{7A398367-840A-FC48-9A3D-BBB937E4EAB6}" dt="2024-02-07T20:53:51.983" v="139" actId="20577"/>
          <ac:spMkLst>
            <pc:docMk/>
            <pc:sldMk cId="3613853464" sldId="2147468935"/>
            <ac:spMk id="748" creationId="{52A172F7-40D3-395B-CCC6-FDB8624B34C3}"/>
          </ac:spMkLst>
        </pc:spChg>
        <pc:spChg chg="mod">
          <ac:chgData name="Caroline Baker" userId="0fbdd6cc-5ea0-493c-bb40-f2bbc5de54ff" providerId="ADAL" clId="{7A398367-840A-FC48-9A3D-BBB937E4EAB6}" dt="2024-02-07T20:48:18.215" v="110"/>
          <ac:spMkLst>
            <pc:docMk/>
            <pc:sldMk cId="3613853464" sldId="2147468935"/>
            <ac:spMk id="751" creationId="{3D178A78-CD9B-9B57-381E-6C79E4F668FB}"/>
          </ac:spMkLst>
        </pc:spChg>
      </pc:sldChg>
      <pc:sldChg chg="modSp">
        <pc:chgData name="Caroline Baker" userId="0fbdd6cc-5ea0-493c-bb40-f2bbc5de54ff" providerId="ADAL" clId="{7A398367-840A-FC48-9A3D-BBB937E4EAB6}" dt="2024-02-07T20:48:18.215" v="110"/>
        <pc:sldMkLst>
          <pc:docMk/>
          <pc:sldMk cId="3462284235" sldId="2147468936"/>
        </pc:sldMkLst>
        <pc:spChg chg="mod">
          <ac:chgData name="Caroline Baker" userId="0fbdd6cc-5ea0-493c-bb40-f2bbc5de54ff" providerId="ADAL" clId="{7A398367-840A-FC48-9A3D-BBB937E4EAB6}" dt="2024-02-07T20:48:18.215" v="110"/>
          <ac:spMkLst>
            <pc:docMk/>
            <pc:sldMk cId="3462284235" sldId="2147468936"/>
            <ac:spMk id="751" creationId="{3D178A78-CD9B-9B57-381E-6C79E4F668FB}"/>
          </ac:spMkLst>
        </pc:spChg>
        <pc:spChg chg="mod">
          <ac:chgData name="Caroline Baker" userId="0fbdd6cc-5ea0-493c-bb40-f2bbc5de54ff" providerId="ADAL" clId="{7A398367-840A-FC48-9A3D-BBB937E4EAB6}" dt="2024-02-07T18:26:33.115" v="15"/>
          <ac:spMkLst>
            <pc:docMk/>
            <pc:sldMk cId="3462284235" sldId="2147468936"/>
            <ac:spMk id="760" creationId="{16F0A96B-3D1E-E8DF-AC52-46F2C43A756E}"/>
          </ac:spMkLst>
        </pc:spChg>
      </pc:sldChg>
      <pc:sldChg chg="modSp mod">
        <pc:chgData name="Caroline Baker" userId="0fbdd6cc-5ea0-493c-bb40-f2bbc5de54ff" providerId="ADAL" clId="{7A398367-840A-FC48-9A3D-BBB937E4EAB6}" dt="2024-02-08T16:00:02.540" v="595" actId="20577"/>
        <pc:sldMkLst>
          <pc:docMk/>
          <pc:sldMk cId="2205314040" sldId="2147468937"/>
        </pc:sldMkLst>
        <pc:spChg chg="mod">
          <ac:chgData name="Caroline Baker" userId="0fbdd6cc-5ea0-493c-bb40-f2bbc5de54ff" providerId="ADAL" clId="{7A398367-840A-FC48-9A3D-BBB937E4EAB6}" dt="2024-02-08T16:00:02.540" v="595" actId="20577"/>
          <ac:spMkLst>
            <pc:docMk/>
            <pc:sldMk cId="2205314040" sldId="2147468937"/>
            <ac:spMk id="742" creationId="{C45ED160-274D-7D5D-6A82-81870E69F4BD}"/>
          </ac:spMkLst>
        </pc:spChg>
        <pc:spChg chg="mod">
          <ac:chgData name="Caroline Baker" userId="0fbdd6cc-5ea0-493c-bb40-f2bbc5de54ff" providerId="ADAL" clId="{7A398367-840A-FC48-9A3D-BBB937E4EAB6}" dt="2024-02-07T20:48:18.215" v="110"/>
          <ac:spMkLst>
            <pc:docMk/>
            <pc:sldMk cId="2205314040" sldId="2147468937"/>
            <ac:spMk id="751" creationId="{3D178A78-CD9B-9B57-381E-6C79E4F668FB}"/>
          </ac:spMkLst>
        </pc:spChg>
      </pc:sldChg>
      <pc:sldChg chg="modSp mod">
        <pc:chgData name="Caroline Baker" userId="0fbdd6cc-5ea0-493c-bb40-f2bbc5de54ff" providerId="ADAL" clId="{7A398367-840A-FC48-9A3D-BBB937E4EAB6}" dt="2024-02-07T20:48:18.215" v="110"/>
        <pc:sldMkLst>
          <pc:docMk/>
          <pc:sldMk cId="4002004116" sldId="2147468938"/>
        </pc:sldMkLst>
        <pc:spChg chg="mod">
          <ac:chgData name="Caroline Baker" userId="0fbdd6cc-5ea0-493c-bb40-f2bbc5de54ff" providerId="ADAL" clId="{7A398367-840A-FC48-9A3D-BBB937E4EAB6}" dt="2024-02-07T18:26:39.475" v="16" actId="313"/>
          <ac:spMkLst>
            <pc:docMk/>
            <pc:sldMk cId="4002004116" sldId="2147468938"/>
            <ac:spMk id="748" creationId="{52A172F7-40D3-395B-CCC6-FDB8624B34C3}"/>
          </ac:spMkLst>
        </pc:spChg>
        <pc:spChg chg="mod">
          <ac:chgData name="Caroline Baker" userId="0fbdd6cc-5ea0-493c-bb40-f2bbc5de54ff" providerId="ADAL" clId="{7A398367-840A-FC48-9A3D-BBB937E4EAB6}" dt="2024-02-07T20:48:18.215" v="110"/>
          <ac:spMkLst>
            <pc:docMk/>
            <pc:sldMk cId="4002004116" sldId="2147468938"/>
            <ac:spMk id="751" creationId="{3D178A78-CD9B-9B57-381E-6C79E4F668FB}"/>
          </ac:spMkLst>
        </pc:spChg>
      </pc:sldChg>
      <pc:sldChg chg="modSp">
        <pc:chgData name="Caroline Baker" userId="0fbdd6cc-5ea0-493c-bb40-f2bbc5de54ff" providerId="ADAL" clId="{7A398367-840A-FC48-9A3D-BBB937E4EAB6}" dt="2024-02-07T20:48:18.215" v="110"/>
        <pc:sldMkLst>
          <pc:docMk/>
          <pc:sldMk cId="3529569922" sldId="2147468942"/>
        </pc:sldMkLst>
        <pc:spChg chg="mod">
          <ac:chgData name="Caroline Baker" userId="0fbdd6cc-5ea0-493c-bb40-f2bbc5de54ff" providerId="ADAL" clId="{7A398367-840A-FC48-9A3D-BBB937E4EAB6}" dt="2024-02-07T18:25:39.238" v="7"/>
          <ac:spMkLst>
            <pc:docMk/>
            <pc:sldMk cId="3529569922" sldId="2147468942"/>
            <ac:spMk id="16" creationId="{E15B85E0-B66A-0AE5-4046-ACFEF1199697}"/>
          </ac:spMkLst>
        </pc:spChg>
        <pc:spChg chg="mod">
          <ac:chgData name="Caroline Baker" userId="0fbdd6cc-5ea0-493c-bb40-f2bbc5de54ff" providerId="ADAL" clId="{7A398367-840A-FC48-9A3D-BBB937E4EAB6}" dt="2024-02-07T20:48:18.215" v="110"/>
          <ac:spMkLst>
            <pc:docMk/>
            <pc:sldMk cId="3529569922" sldId="2147468942"/>
            <ac:spMk id="751" creationId="{3D178A78-CD9B-9B57-381E-6C79E4F668FB}"/>
          </ac:spMkLst>
        </pc:spChg>
      </pc:sldChg>
      <pc:sldChg chg="modSp mod">
        <pc:chgData name="Caroline Baker" userId="0fbdd6cc-5ea0-493c-bb40-f2bbc5de54ff" providerId="ADAL" clId="{7A398367-840A-FC48-9A3D-BBB937E4EAB6}" dt="2024-02-07T21:07:49.774" v="247" actId="20577"/>
        <pc:sldMkLst>
          <pc:docMk/>
          <pc:sldMk cId="3448432076" sldId="2147468943"/>
        </pc:sldMkLst>
        <pc:spChg chg="mod">
          <ac:chgData name="Caroline Baker" userId="0fbdd6cc-5ea0-493c-bb40-f2bbc5de54ff" providerId="ADAL" clId="{7A398367-840A-FC48-9A3D-BBB937E4EAB6}" dt="2024-02-07T21:07:46.162" v="244" actId="20577"/>
          <ac:spMkLst>
            <pc:docMk/>
            <pc:sldMk cId="3448432076" sldId="2147468943"/>
            <ac:spMk id="742" creationId="{C45ED160-274D-7D5D-6A82-81870E69F4BD}"/>
          </ac:spMkLst>
        </pc:spChg>
        <pc:spChg chg="mod">
          <ac:chgData name="Caroline Baker" userId="0fbdd6cc-5ea0-493c-bb40-f2bbc5de54ff" providerId="ADAL" clId="{7A398367-840A-FC48-9A3D-BBB937E4EAB6}" dt="2024-02-07T20:48:18.215" v="110"/>
          <ac:spMkLst>
            <pc:docMk/>
            <pc:sldMk cId="3448432076" sldId="2147468943"/>
            <ac:spMk id="751" creationId="{3D178A78-CD9B-9B57-381E-6C79E4F668FB}"/>
          </ac:spMkLst>
        </pc:spChg>
        <pc:spChg chg="mod">
          <ac:chgData name="Caroline Baker" userId="0fbdd6cc-5ea0-493c-bb40-f2bbc5de54ff" providerId="ADAL" clId="{7A398367-840A-FC48-9A3D-BBB937E4EAB6}" dt="2024-02-07T21:07:49.774" v="247" actId="20577"/>
          <ac:spMkLst>
            <pc:docMk/>
            <pc:sldMk cId="3448432076" sldId="2147468943"/>
            <ac:spMk id="759" creationId="{3BADE806-97C4-C52D-6972-2F312E7D9938}"/>
          </ac:spMkLst>
        </pc:spChg>
      </pc:sldChg>
      <pc:sldChg chg="modSp mod">
        <pc:chgData name="Caroline Baker" userId="0fbdd6cc-5ea0-493c-bb40-f2bbc5de54ff" providerId="ADAL" clId="{7A398367-840A-FC48-9A3D-BBB937E4EAB6}" dt="2024-02-07T21:33:33.010" v="549" actId="20577"/>
        <pc:sldMkLst>
          <pc:docMk/>
          <pc:sldMk cId="1326149201" sldId="2147468944"/>
        </pc:sldMkLst>
        <pc:spChg chg="mod">
          <ac:chgData name="Caroline Baker" userId="0fbdd6cc-5ea0-493c-bb40-f2bbc5de54ff" providerId="ADAL" clId="{7A398367-840A-FC48-9A3D-BBB937E4EAB6}" dt="2024-02-07T20:56:27.893" v="150"/>
          <ac:spMkLst>
            <pc:docMk/>
            <pc:sldMk cId="1326149201" sldId="2147468944"/>
            <ac:spMk id="742" creationId="{C45ED160-274D-7D5D-6A82-81870E69F4BD}"/>
          </ac:spMkLst>
        </pc:spChg>
        <pc:spChg chg="mod">
          <ac:chgData name="Caroline Baker" userId="0fbdd6cc-5ea0-493c-bb40-f2bbc5de54ff" providerId="ADAL" clId="{7A398367-840A-FC48-9A3D-BBB937E4EAB6}" dt="2024-02-07T20:56:27.893" v="150"/>
          <ac:spMkLst>
            <pc:docMk/>
            <pc:sldMk cId="1326149201" sldId="2147468944"/>
            <ac:spMk id="747" creationId="{42314759-16C9-2A2E-4382-7C21536611C2}"/>
          </ac:spMkLst>
        </pc:spChg>
        <pc:spChg chg="mod">
          <ac:chgData name="Caroline Baker" userId="0fbdd6cc-5ea0-493c-bb40-f2bbc5de54ff" providerId="ADAL" clId="{7A398367-840A-FC48-9A3D-BBB937E4EAB6}" dt="2024-02-07T21:33:33.010" v="549" actId="20577"/>
          <ac:spMkLst>
            <pc:docMk/>
            <pc:sldMk cId="1326149201" sldId="2147468944"/>
            <ac:spMk id="748" creationId="{52A172F7-40D3-395B-CCC6-FDB8624B34C3}"/>
          </ac:spMkLst>
        </pc:spChg>
        <pc:spChg chg="mod">
          <ac:chgData name="Caroline Baker" userId="0fbdd6cc-5ea0-493c-bb40-f2bbc5de54ff" providerId="ADAL" clId="{7A398367-840A-FC48-9A3D-BBB937E4EAB6}" dt="2024-02-07T20:48:18.215" v="110"/>
          <ac:spMkLst>
            <pc:docMk/>
            <pc:sldMk cId="1326149201" sldId="2147468944"/>
            <ac:spMk id="751" creationId="{3D178A78-CD9B-9B57-381E-6C79E4F668FB}"/>
          </ac:spMkLst>
        </pc:spChg>
        <pc:spChg chg="mod">
          <ac:chgData name="Caroline Baker" userId="0fbdd6cc-5ea0-493c-bb40-f2bbc5de54ff" providerId="ADAL" clId="{7A398367-840A-FC48-9A3D-BBB937E4EAB6}" dt="2024-02-07T21:33:09.924" v="537" actId="20577"/>
          <ac:spMkLst>
            <pc:docMk/>
            <pc:sldMk cId="1326149201" sldId="2147468944"/>
            <ac:spMk id="759" creationId="{3BADE806-97C4-C52D-6972-2F312E7D9938}"/>
          </ac:spMkLst>
        </pc:spChg>
      </pc:sldChg>
      <pc:sldChg chg="modSp mod">
        <pc:chgData name="Caroline Baker" userId="0fbdd6cc-5ea0-493c-bb40-f2bbc5de54ff" providerId="ADAL" clId="{7A398367-840A-FC48-9A3D-BBB937E4EAB6}" dt="2024-02-08T16:04:52.470" v="627" actId="20577"/>
        <pc:sldMkLst>
          <pc:docMk/>
          <pc:sldMk cId="1735554843" sldId="2147468945"/>
        </pc:sldMkLst>
        <pc:spChg chg="mod">
          <ac:chgData name="Caroline Baker" userId="0fbdd6cc-5ea0-493c-bb40-f2bbc5de54ff" providerId="ADAL" clId="{7A398367-840A-FC48-9A3D-BBB937E4EAB6}" dt="2024-02-07T21:08:29.964" v="248"/>
          <ac:spMkLst>
            <pc:docMk/>
            <pc:sldMk cId="1735554843" sldId="2147468945"/>
            <ac:spMk id="8" creationId="{7683187A-B87D-8709-88E5-93D0DF83D349}"/>
          </ac:spMkLst>
        </pc:spChg>
        <pc:spChg chg="mod">
          <ac:chgData name="Caroline Baker" userId="0fbdd6cc-5ea0-493c-bb40-f2bbc5de54ff" providerId="ADAL" clId="{7A398367-840A-FC48-9A3D-BBB937E4EAB6}" dt="2024-02-08T16:04:52.470" v="627" actId="20577"/>
          <ac:spMkLst>
            <pc:docMk/>
            <pc:sldMk cId="1735554843" sldId="2147468945"/>
            <ac:spMk id="742" creationId="{C45ED160-274D-7D5D-6A82-81870E69F4BD}"/>
          </ac:spMkLst>
        </pc:spChg>
        <pc:spChg chg="mod">
          <ac:chgData name="Caroline Baker" userId="0fbdd6cc-5ea0-493c-bb40-f2bbc5de54ff" providerId="ADAL" clId="{7A398367-840A-FC48-9A3D-BBB937E4EAB6}" dt="2024-02-07T20:48:18.215" v="110"/>
          <ac:spMkLst>
            <pc:docMk/>
            <pc:sldMk cId="1735554843" sldId="2147468945"/>
            <ac:spMk id="751" creationId="{3D178A78-CD9B-9B57-381E-6C79E4F668FB}"/>
          </ac:spMkLst>
        </pc:spChg>
      </pc:sldChg>
      <pc:sldChg chg="modSp mod">
        <pc:chgData name="Caroline Baker" userId="0fbdd6cc-5ea0-493c-bb40-f2bbc5de54ff" providerId="ADAL" clId="{7A398367-840A-FC48-9A3D-BBB937E4EAB6}" dt="2024-02-08T16:00:33.569" v="598" actId="20577"/>
        <pc:sldMkLst>
          <pc:docMk/>
          <pc:sldMk cId="4240200074" sldId="2147468946"/>
        </pc:sldMkLst>
        <pc:spChg chg="mod">
          <ac:chgData name="Caroline Baker" userId="0fbdd6cc-5ea0-493c-bb40-f2bbc5de54ff" providerId="ADAL" clId="{7A398367-840A-FC48-9A3D-BBB937E4EAB6}" dt="2024-02-08T16:00:33.569" v="598" actId="20577"/>
          <ac:spMkLst>
            <pc:docMk/>
            <pc:sldMk cId="4240200074" sldId="2147468946"/>
            <ac:spMk id="742" creationId="{C45ED160-274D-7D5D-6A82-81870E69F4BD}"/>
          </ac:spMkLst>
        </pc:spChg>
        <pc:spChg chg="mod">
          <ac:chgData name="Caroline Baker" userId="0fbdd6cc-5ea0-493c-bb40-f2bbc5de54ff" providerId="ADAL" clId="{7A398367-840A-FC48-9A3D-BBB937E4EAB6}" dt="2024-02-07T20:55:28.670" v="148" actId="6549"/>
          <ac:spMkLst>
            <pc:docMk/>
            <pc:sldMk cId="4240200074" sldId="2147468946"/>
            <ac:spMk id="747" creationId="{42314759-16C9-2A2E-4382-7C21536611C2}"/>
          </ac:spMkLst>
        </pc:spChg>
        <pc:spChg chg="mod">
          <ac:chgData name="Caroline Baker" userId="0fbdd6cc-5ea0-493c-bb40-f2bbc5de54ff" providerId="ADAL" clId="{7A398367-840A-FC48-9A3D-BBB937E4EAB6}" dt="2024-02-08T16:00:17.910" v="597" actId="20577"/>
          <ac:spMkLst>
            <pc:docMk/>
            <pc:sldMk cId="4240200074" sldId="2147468946"/>
            <ac:spMk id="748" creationId="{52A172F7-40D3-395B-CCC6-FDB8624B34C3}"/>
          </ac:spMkLst>
        </pc:spChg>
        <pc:spChg chg="mod">
          <ac:chgData name="Caroline Baker" userId="0fbdd6cc-5ea0-493c-bb40-f2bbc5de54ff" providerId="ADAL" clId="{7A398367-840A-FC48-9A3D-BBB937E4EAB6}" dt="2024-02-07T20:48:18.215" v="110"/>
          <ac:spMkLst>
            <pc:docMk/>
            <pc:sldMk cId="4240200074" sldId="2147468946"/>
            <ac:spMk id="751" creationId="{3D178A78-CD9B-9B57-381E-6C79E4F668FB}"/>
          </ac:spMkLst>
        </pc:spChg>
        <pc:spChg chg="mod">
          <ac:chgData name="Caroline Baker" userId="0fbdd6cc-5ea0-493c-bb40-f2bbc5de54ff" providerId="ADAL" clId="{7A398367-840A-FC48-9A3D-BBB937E4EAB6}" dt="2024-02-07T20:55:15.264" v="145" actId="6549"/>
          <ac:spMkLst>
            <pc:docMk/>
            <pc:sldMk cId="4240200074" sldId="2147468946"/>
            <ac:spMk id="759" creationId="{3BADE806-97C4-C52D-6972-2F312E7D9938}"/>
          </ac:spMkLst>
        </pc:spChg>
      </pc:sldChg>
      <pc:sldChg chg="modSp mod">
        <pc:chgData name="Caroline Baker" userId="0fbdd6cc-5ea0-493c-bb40-f2bbc5de54ff" providerId="ADAL" clId="{7A398367-840A-FC48-9A3D-BBB937E4EAB6}" dt="2024-02-08T16:06:17.902" v="639"/>
        <pc:sldMkLst>
          <pc:docMk/>
          <pc:sldMk cId="39787549" sldId="2147468947"/>
        </pc:sldMkLst>
        <pc:spChg chg="mod">
          <ac:chgData name="Caroline Baker" userId="0fbdd6cc-5ea0-493c-bb40-f2bbc5de54ff" providerId="ADAL" clId="{7A398367-840A-FC48-9A3D-BBB937E4EAB6}" dt="2024-02-08T16:06:17.902" v="639"/>
          <ac:spMkLst>
            <pc:docMk/>
            <pc:sldMk cId="39787549" sldId="2147468947"/>
            <ac:spMk id="742" creationId="{C45ED160-274D-7D5D-6A82-81870E69F4BD}"/>
          </ac:spMkLst>
        </pc:spChg>
        <pc:spChg chg="mod">
          <ac:chgData name="Caroline Baker" userId="0fbdd6cc-5ea0-493c-bb40-f2bbc5de54ff" providerId="ADAL" clId="{7A398367-840A-FC48-9A3D-BBB937E4EAB6}" dt="2024-02-07T20:48:18.215" v="110"/>
          <ac:spMkLst>
            <pc:docMk/>
            <pc:sldMk cId="39787549" sldId="2147468947"/>
            <ac:spMk id="751" creationId="{3D178A78-CD9B-9B57-381E-6C79E4F668FB}"/>
          </ac:spMkLst>
        </pc:spChg>
        <pc:spChg chg="mod">
          <ac:chgData name="Caroline Baker" userId="0fbdd6cc-5ea0-493c-bb40-f2bbc5de54ff" providerId="ADAL" clId="{7A398367-840A-FC48-9A3D-BBB937E4EAB6}" dt="2024-02-07T18:29:07.018" v="43" actId="14100"/>
          <ac:spMkLst>
            <pc:docMk/>
            <pc:sldMk cId="39787549" sldId="2147468947"/>
            <ac:spMk id="759" creationId="{3BADE806-97C4-C52D-6972-2F312E7D9938}"/>
          </ac:spMkLst>
        </pc:spChg>
      </pc:sldChg>
      <pc:sldChg chg="modSp mod">
        <pc:chgData name="Caroline Baker" userId="0fbdd6cc-5ea0-493c-bb40-f2bbc5de54ff" providerId="ADAL" clId="{7A398367-840A-FC48-9A3D-BBB937E4EAB6}" dt="2024-02-08T16:01:07.561" v="600"/>
        <pc:sldMkLst>
          <pc:docMk/>
          <pc:sldMk cId="3455779013" sldId="2147468948"/>
        </pc:sldMkLst>
        <pc:spChg chg="mod">
          <ac:chgData name="Caroline Baker" userId="0fbdd6cc-5ea0-493c-bb40-f2bbc5de54ff" providerId="ADAL" clId="{7A398367-840A-FC48-9A3D-BBB937E4EAB6}" dt="2024-02-08T16:01:07.561" v="600"/>
          <ac:spMkLst>
            <pc:docMk/>
            <pc:sldMk cId="3455779013" sldId="2147468948"/>
            <ac:spMk id="742" creationId="{C45ED160-274D-7D5D-6A82-81870E69F4BD}"/>
          </ac:spMkLst>
        </pc:spChg>
        <pc:spChg chg="mod">
          <ac:chgData name="Caroline Baker" userId="0fbdd6cc-5ea0-493c-bb40-f2bbc5de54ff" providerId="ADAL" clId="{7A398367-840A-FC48-9A3D-BBB937E4EAB6}" dt="2024-02-07T18:26:50.476" v="17" actId="2"/>
          <ac:spMkLst>
            <pc:docMk/>
            <pc:sldMk cId="3455779013" sldId="2147468948"/>
            <ac:spMk id="747" creationId="{42314759-16C9-2A2E-4382-7C21536611C2}"/>
          </ac:spMkLst>
        </pc:spChg>
        <pc:spChg chg="mod">
          <ac:chgData name="Caroline Baker" userId="0fbdd6cc-5ea0-493c-bb40-f2bbc5de54ff" providerId="ADAL" clId="{7A398367-840A-FC48-9A3D-BBB937E4EAB6}" dt="2024-02-07T20:56:27.893" v="150"/>
          <ac:spMkLst>
            <pc:docMk/>
            <pc:sldMk cId="3455779013" sldId="2147468948"/>
            <ac:spMk id="748" creationId="{52A172F7-40D3-395B-CCC6-FDB8624B34C3}"/>
          </ac:spMkLst>
        </pc:spChg>
        <pc:spChg chg="mod">
          <ac:chgData name="Caroline Baker" userId="0fbdd6cc-5ea0-493c-bb40-f2bbc5de54ff" providerId="ADAL" clId="{7A398367-840A-FC48-9A3D-BBB937E4EAB6}" dt="2024-02-07T18:26:52.352" v="18" actId="2"/>
          <ac:spMkLst>
            <pc:docMk/>
            <pc:sldMk cId="3455779013" sldId="2147468948"/>
            <ac:spMk id="749" creationId="{A50E6FED-D952-EBCF-AAC5-BD6B2EFDC8C8}"/>
          </ac:spMkLst>
        </pc:spChg>
        <pc:spChg chg="mod">
          <ac:chgData name="Caroline Baker" userId="0fbdd6cc-5ea0-493c-bb40-f2bbc5de54ff" providerId="ADAL" clId="{7A398367-840A-FC48-9A3D-BBB937E4EAB6}" dt="2024-02-07T20:48:18.215" v="110"/>
          <ac:spMkLst>
            <pc:docMk/>
            <pc:sldMk cId="3455779013" sldId="2147468948"/>
            <ac:spMk id="751" creationId="{3D178A78-CD9B-9B57-381E-6C79E4F668FB}"/>
          </ac:spMkLst>
        </pc:spChg>
        <pc:spChg chg="mod">
          <ac:chgData name="Caroline Baker" userId="0fbdd6cc-5ea0-493c-bb40-f2bbc5de54ff" providerId="ADAL" clId="{7A398367-840A-FC48-9A3D-BBB937E4EAB6}" dt="2024-02-07T20:55:44.141" v="149" actId="20577"/>
          <ac:spMkLst>
            <pc:docMk/>
            <pc:sldMk cId="3455779013" sldId="2147468948"/>
            <ac:spMk id="759" creationId="{3BADE806-97C4-C52D-6972-2F312E7D9938}"/>
          </ac:spMkLst>
        </pc:spChg>
      </pc:sldChg>
      <pc:sldChg chg="modSp mod">
        <pc:chgData name="Caroline Baker" userId="0fbdd6cc-5ea0-493c-bb40-f2bbc5de54ff" providerId="ADAL" clId="{7A398367-840A-FC48-9A3D-BBB937E4EAB6}" dt="2024-02-08T16:01:21.853" v="604" actId="20577"/>
        <pc:sldMkLst>
          <pc:docMk/>
          <pc:sldMk cId="1125405118" sldId="2147468949"/>
        </pc:sldMkLst>
        <pc:spChg chg="mod">
          <ac:chgData name="Caroline Baker" userId="0fbdd6cc-5ea0-493c-bb40-f2bbc5de54ff" providerId="ADAL" clId="{7A398367-840A-FC48-9A3D-BBB937E4EAB6}" dt="2024-02-07T20:58:25.431" v="156" actId="20577"/>
          <ac:spMkLst>
            <pc:docMk/>
            <pc:sldMk cId="1125405118" sldId="2147468949"/>
            <ac:spMk id="14" creationId="{5C615C48-C7F7-17F8-51F7-204A4B8CF6EB}"/>
          </ac:spMkLst>
        </pc:spChg>
        <pc:spChg chg="mod">
          <ac:chgData name="Caroline Baker" userId="0fbdd6cc-5ea0-493c-bb40-f2bbc5de54ff" providerId="ADAL" clId="{7A398367-840A-FC48-9A3D-BBB937E4EAB6}" dt="2024-02-08T16:01:21.853" v="604" actId="20577"/>
          <ac:spMkLst>
            <pc:docMk/>
            <pc:sldMk cId="1125405118" sldId="2147468949"/>
            <ac:spMk id="742" creationId="{C45ED160-274D-7D5D-6A82-81870E69F4BD}"/>
          </ac:spMkLst>
        </pc:spChg>
        <pc:spChg chg="mod">
          <ac:chgData name="Caroline Baker" userId="0fbdd6cc-5ea0-493c-bb40-f2bbc5de54ff" providerId="ADAL" clId="{7A398367-840A-FC48-9A3D-BBB937E4EAB6}" dt="2024-02-07T20:58:39.481" v="167" actId="20577"/>
          <ac:spMkLst>
            <pc:docMk/>
            <pc:sldMk cId="1125405118" sldId="2147468949"/>
            <ac:spMk id="748" creationId="{52A172F7-40D3-395B-CCC6-FDB8624B34C3}"/>
          </ac:spMkLst>
        </pc:spChg>
        <pc:spChg chg="mod">
          <ac:chgData name="Caroline Baker" userId="0fbdd6cc-5ea0-493c-bb40-f2bbc5de54ff" providerId="ADAL" clId="{7A398367-840A-FC48-9A3D-BBB937E4EAB6}" dt="2024-02-07T20:48:18.215" v="110"/>
          <ac:spMkLst>
            <pc:docMk/>
            <pc:sldMk cId="1125405118" sldId="2147468949"/>
            <ac:spMk id="751" creationId="{3D178A78-CD9B-9B57-381E-6C79E4F668FB}"/>
          </ac:spMkLst>
        </pc:spChg>
      </pc:sldChg>
      <pc:sldChg chg="modSp mod">
        <pc:chgData name="Caroline Baker" userId="0fbdd6cc-5ea0-493c-bb40-f2bbc5de54ff" providerId="ADAL" clId="{7A398367-840A-FC48-9A3D-BBB937E4EAB6}" dt="2024-02-08T16:05:05.670" v="632" actId="20577"/>
        <pc:sldMkLst>
          <pc:docMk/>
          <pc:sldMk cId="2193833143" sldId="2147468950"/>
        </pc:sldMkLst>
        <pc:spChg chg="mod">
          <ac:chgData name="Caroline Baker" userId="0fbdd6cc-5ea0-493c-bb40-f2bbc5de54ff" providerId="ADAL" clId="{7A398367-840A-FC48-9A3D-BBB937E4EAB6}" dt="2024-02-08T16:05:05.670" v="632" actId="20577"/>
          <ac:spMkLst>
            <pc:docMk/>
            <pc:sldMk cId="2193833143" sldId="2147468950"/>
            <ac:spMk id="742" creationId="{C45ED160-274D-7D5D-6A82-81870E69F4BD}"/>
          </ac:spMkLst>
        </pc:spChg>
        <pc:spChg chg="mod">
          <ac:chgData name="Caroline Baker" userId="0fbdd6cc-5ea0-493c-bb40-f2bbc5de54ff" providerId="ADAL" clId="{7A398367-840A-FC48-9A3D-BBB937E4EAB6}" dt="2024-02-07T21:09:14.968" v="258" actId="20577"/>
          <ac:spMkLst>
            <pc:docMk/>
            <pc:sldMk cId="2193833143" sldId="2147468950"/>
            <ac:spMk id="747" creationId="{42314759-16C9-2A2E-4382-7C21536611C2}"/>
          </ac:spMkLst>
        </pc:spChg>
        <pc:spChg chg="mod">
          <ac:chgData name="Caroline Baker" userId="0fbdd6cc-5ea0-493c-bb40-f2bbc5de54ff" providerId="ADAL" clId="{7A398367-840A-FC48-9A3D-BBB937E4EAB6}" dt="2024-02-07T20:48:18.215" v="110"/>
          <ac:spMkLst>
            <pc:docMk/>
            <pc:sldMk cId="2193833143" sldId="2147468950"/>
            <ac:spMk id="751" creationId="{3D178A78-CD9B-9B57-381E-6C79E4F668FB}"/>
          </ac:spMkLst>
        </pc:spChg>
      </pc:sldChg>
      <pc:sldChg chg="modSp mod">
        <pc:chgData name="Caroline Baker" userId="0fbdd6cc-5ea0-493c-bb40-f2bbc5de54ff" providerId="ADAL" clId="{7A398367-840A-FC48-9A3D-BBB937E4EAB6}" dt="2024-02-08T16:02:01.766" v="607"/>
        <pc:sldMkLst>
          <pc:docMk/>
          <pc:sldMk cId="727659321" sldId="2147468951"/>
        </pc:sldMkLst>
        <pc:spChg chg="mod">
          <ac:chgData name="Caroline Baker" userId="0fbdd6cc-5ea0-493c-bb40-f2bbc5de54ff" providerId="ADAL" clId="{7A398367-840A-FC48-9A3D-BBB937E4EAB6}" dt="2024-02-07T21:00:16.884" v="174" actId="20577"/>
          <ac:spMkLst>
            <pc:docMk/>
            <pc:sldMk cId="727659321" sldId="2147468951"/>
            <ac:spMk id="14" creationId="{6CA68B33-5110-68D9-F384-C43659C9C3ED}"/>
          </ac:spMkLst>
        </pc:spChg>
        <pc:spChg chg="mod">
          <ac:chgData name="Caroline Baker" userId="0fbdd6cc-5ea0-493c-bb40-f2bbc5de54ff" providerId="ADAL" clId="{7A398367-840A-FC48-9A3D-BBB937E4EAB6}" dt="2024-02-08T16:02:01.766" v="607"/>
          <ac:spMkLst>
            <pc:docMk/>
            <pc:sldMk cId="727659321" sldId="2147468951"/>
            <ac:spMk id="742" creationId="{C45ED160-274D-7D5D-6A82-81870E69F4BD}"/>
          </ac:spMkLst>
        </pc:spChg>
        <pc:spChg chg="mod">
          <ac:chgData name="Caroline Baker" userId="0fbdd6cc-5ea0-493c-bb40-f2bbc5de54ff" providerId="ADAL" clId="{7A398367-840A-FC48-9A3D-BBB937E4EAB6}" dt="2024-02-07T21:00:48.183" v="182" actId="20577"/>
          <ac:spMkLst>
            <pc:docMk/>
            <pc:sldMk cId="727659321" sldId="2147468951"/>
            <ac:spMk id="748" creationId="{52A172F7-40D3-395B-CCC6-FDB8624B34C3}"/>
          </ac:spMkLst>
        </pc:spChg>
        <pc:spChg chg="mod">
          <ac:chgData name="Caroline Baker" userId="0fbdd6cc-5ea0-493c-bb40-f2bbc5de54ff" providerId="ADAL" clId="{7A398367-840A-FC48-9A3D-BBB937E4EAB6}" dt="2024-02-07T20:48:18.215" v="110"/>
          <ac:spMkLst>
            <pc:docMk/>
            <pc:sldMk cId="727659321" sldId="2147468951"/>
            <ac:spMk id="751" creationId="{3D178A78-CD9B-9B57-381E-6C79E4F668FB}"/>
          </ac:spMkLst>
        </pc:spChg>
      </pc:sldChg>
      <pc:sldChg chg="modSp mod">
        <pc:chgData name="Caroline Baker" userId="0fbdd6cc-5ea0-493c-bb40-f2bbc5de54ff" providerId="ADAL" clId="{7A398367-840A-FC48-9A3D-BBB937E4EAB6}" dt="2024-02-08T16:04:17.396" v="624"/>
        <pc:sldMkLst>
          <pc:docMk/>
          <pc:sldMk cId="320700284" sldId="2147468952"/>
        </pc:sldMkLst>
        <pc:spChg chg="mod">
          <ac:chgData name="Caroline Baker" userId="0fbdd6cc-5ea0-493c-bb40-f2bbc5de54ff" providerId="ADAL" clId="{7A398367-840A-FC48-9A3D-BBB937E4EAB6}" dt="2024-02-08T16:04:17.396" v="624"/>
          <ac:spMkLst>
            <pc:docMk/>
            <pc:sldMk cId="320700284" sldId="2147468952"/>
            <ac:spMk id="742" creationId="{C45ED160-274D-7D5D-6A82-81870E69F4BD}"/>
          </ac:spMkLst>
        </pc:spChg>
        <pc:spChg chg="mod">
          <ac:chgData name="Caroline Baker" userId="0fbdd6cc-5ea0-493c-bb40-f2bbc5de54ff" providerId="ADAL" clId="{7A398367-840A-FC48-9A3D-BBB937E4EAB6}" dt="2024-02-07T21:05:26.908" v="224" actId="20577"/>
          <ac:spMkLst>
            <pc:docMk/>
            <pc:sldMk cId="320700284" sldId="2147468952"/>
            <ac:spMk id="748" creationId="{52A172F7-40D3-395B-CCC6-FDB8624B34C3}"/>
          </ac:spMkLst>
        </pc:spChg>
        <pc:spChg chg="mod">
          <ac:chgData name="Caroline Baker" userId="0fbdd6cc-5ea0-493c-bb40-f2bbc5de54ff" providerId="ADAL" clId="{7A398367-840A-FC48-9A3D-BBB937E4EAB6}" dt="2024-02-07T20:48:18.215" v="110"/>
          <ac:spMkLst>
            <pc:docMk/>
            <pc:sldMk cId="320700284" sldId="2147468952"/>
            <ac:spMk id="751" creationId="{3D178A78-CD9B-9B57-381E-6C79E4F668FB}"/>
          </ac:spMkLst>
        </pc:spChg>
      </pc:sldChg>
      <pc:sldChg chg="modSp">
        <pc:chgData name="Caroline Baker" userId="0fbdd6cc-5ea0-493c-bb40-f2bbc5de54ff" providerId="ADAL" clId="{7A398367-840A-FC48-9A3D-BBB937E4EAB6}" dt="2024-02-08T16:14:28.768" v="687"/>
        <pc:sldMkLst>
          <pc:docMk/>
          <pc:sldMk cId="4159195372" sldId="2147468953"/>
        </pc:sldMkLst>
        <pc:spChg chg="mod">
          <ac:chgData name="Caroline Baker" userId="0fbdd6cc-5ea0-493c-bb40-f2bbc5de54ff" providerId="ADAL" clId="{7A398367-840A-FC48-9A3D-BBB937E4EAB6}" dt="2024-02-08T16:14:28.768" v="687"/>
          <ac:spMkLst>
            <pc:docMk/>
            <pc:sldMk cId="4159195372" sldId="2147468953"/>
            <ac:spMk id="742" creationId="{C45ED160-274D-7D5D-6A82-81870E69F4BD}"/>
          </ac:spMkLst>
        </pc:spChg>
        <pc:spChg chg="mod">
          <ac:chgData name="Caroline Baker" userId="0fbdd6cc-5ea0-493c-bb40-f2bbc5de54ff" providerId="ADAL" clId="{7A398367-840A-FC48-9A3D-BBB937E4EAB6}" dt="2024-02-07T20:48:18.215" v="110"/>
          <ac:spMkLst>
            <pc:docMk/>
            <pc:sldMk cId="4159195372" sldId="2147468953"/>
            <ac:spMk id="748" creationId="{52A172F7-40D3-395B-CCC6-FDB8624B34C3}"/>
          </ac:spMkLst>
        </pc:spChg>
        <pc:spChg chg="mod">
          <ac:chgData name="Caroline Baker" userId="0fbdd6cc-5ea0-493c-bb40-f2bbc5de54ff" providerId="ADAL" clId="{7A398367-840A-FC48-9A3D-BBB937E4EAB6}" dt="2024-02-07T20:48:18.215" v="110"/>
          <ac:spMkLst>
            <pc:docMk/>
            <pc:sldMk cId="4159195372" sldId="2147468953"/>
            <ac:spMk id="751" creationId="{3D178A78-CD9B-9B57-381E-6C79E4F668FB}"/>
          </ac:spMkLst>
        </pc:spChg>
      </pc:sldChg>
      <pc:sldChg chg="modSp mod">
        <pc:chgData name="Caroline Baker" userId="0fbdd6cc-5ea0-493c-bb40-f2bbc5de54ff" providerId="ADAL" clId="{7A398367-840A-FC48-9A3D-BBB937E4EAB6}" dt="2024-02-08T16:05:22.602" v="635"/>
        <pc:sldMkLst>
          <pc:docMk/>
          <pc:sldMk cId="2586348485" sldId="2147468954"/>
        </pc:sldMkLst>
        <pc:spChg chg="mod">
          <ac:chgData name="Caroline Baker" userId="0fbdd6cc-5ea0-493c-bb40-f2bbc5de54ff" providerId="ADAL" clId="{7A398367-840A-FC48-9A3D-BBB937E4EAB6}" dt="2024-02-08T16:05:22.602" v="635"/>
          <ac:spMkLst>
            <pc:docMk/>
            <pc:sldMk cId="2586348485" sldId="2147468954"/>
            <ac:spMk id="742" creationId="{C45ED160-274D-7D5D-6A82-81870E69F4BD}"/>
          </ac:spMkLst>
        </pc:spChg>
        <pc:spChg chg="mod">
          <ac:chgData name="Caroline Baker" userId="0fbdd6cc-5ea0-493c-bb40-f2bbc5de54ff" providerId="ADAL" clId="{7A398367-840A-FC48-9A3D-BBB937E4EAB6}" dt="2024-02-07T21:09:42.267" v="260" actId="20577"/>
          <ac:spMkLst>
            <pc:docMk/>
            <pc:sldMk cId="2586348485" sldId="2147468954"/>
            <ac:spMk id="748" creationId="{52A172F7-40D3-395B-CCC6-FDB8624B34C3}"/>
          </ac:spMkLst>
        </pc:spChg>
        <pc:spChg chg="mod">
          <ac:chgData name="Caroline Baker" userId="0fbdd6cc-5ea0-493c-bb40-f2bbc5de54ff" providerId="ADAL" clId="{7A398367-840A-FC48-9A3D-BBB937E4EAB6}" dt="2024-02-07T20:48:18.215" v="110"/>
          <ac:spMkLst>
            <pc:docMk/>
            <pc:sldMk cId="2586348485" sldId="2147468954"/>
            <ac:spMk id="751" creationId="{3D178A78-CD9B-9B57-381E-6C79E4F668FB}"/>
          </ac:spMkLst>
        </pc:spChg>
        <pc:spChg chg="mod">
          <ac:chgData name="Caroline Baker" userId="0fbdd6cc-5ea0-493c-bb40-f2bbc5de54ff" providerId="ADAL" clId="{7A398367-840A-FC48-9A3D-BBB937E4EAB6}" dt="2024-02-07T21:09:37.932" v="259" actId="1076"/>
          <ac:spMkLst>
            <pc:docMk/>
            <pc:sldMk cId="2586348485" sldId="2147468954"/>
            <ac:spMk id="755" creationId="{2C81BA28-BF01-1AFB-6F1B-C3A82383E1EE}"/>
          </ac:spMkLst>
        </pc:spChg>
      </pc:sldChg>
      <pc:sldChg chg="modSp mod">
        <pc:chgData name="Caroline Baker" userId="0fbdd6cc-5ea0-493c-bb40-f2bbc5de54ff" providerId="ADAL" clId="{7A398367-840A-FC48-9A3D-BBB937E4EAB6}" dt="2024-02-07T21:20:29.291" v="344" actId="20577"/>
        <pc:sldMkLst>
          <pc:docMk/>
          <pc:sldMk cId="1770436575" sldId="2147468955"/>
        </pc:sldMkLst>
        <pc:spChg chg="mod">
          <ac:chgData name="Caroline Baker" userId="0fbdd6cc-5ea0-493c-bb40-f2bbc5de54ff" providerId="ADAL" clId="{7A398367-840A-FC48-9A3D-BBB937E4EAB6}" dt="2024-02-07T21:20:29.291" v="344" actId="20577"/>
          <ac:spMkLst>
            <pc:docMk/>
            <pc:sldMk cId="1770436575" sldId="2147468955"/>
            <ac:spMk id="14" creationId="{B1890A23-E942-C6DC-0113-4FFB04753CD5}"/>
          </ac:spMkLst>
        </pc:spChg>
        <pc:spChg chg="mod">
          <ac:chgData name="Caroline Baker" userId="0fbdd6cc-5ea0-493c-bb40-f2bbc5de54ff" providerId="ADAL" clId="{7A398367-840A-FC48-9A3D-BBB937E4EAB6}" dt="2024-02-07T21:20:24.499" v="339" actId="20577"/>
          <ac:spMkLst>
            <pc:docMk/>
            <pc:sldMk cId="1770436575" sldId="2147468955"/>
            <ac:spMk id="742" creationId="{C45ED160-274D-7D5D-6A82-81870E69F4BD}"/>
          </ac:spMkLst>
        </pc:spChg>
        <pc:spChg chg="mod">
          <ac:chgData name="Caroline Baker" userId="0fbdd6cc-5ea0-493c-bb40-f2bbc5de54ff" providerId="ADAL" clId="{7A398367-840A-FC48-9A3D-BBB937E4EAB6}" dt="2024-02-07T20:48:18.215" v="110"/>
          <ac:spMkLst>
            <pc:docMk/>
            <pc:sldMk cId="1770436575" sldId="2147468955"/>
            <ac:spMk id="751" creationId="{3D178A78-CD9B-9B57-381E-6C79E4F668FB}"/>
          </ac:spMkLst>
        </pc:spChg>
      </pc:sldChg>
      <pc:sldChg chg="modSp mod">
        <pc:chgData name="Caroline Baker" userId="0fbdd6cc-5ea0-493c-bb40-f2bbc5de54ff" providerId="ADAL" clId="{7A398367-840A-FC48-9A3D-BBB937E4EAB6}" dt="2024-02-07T20:56:27.893" v="150"/>
        <pc:sldMkLst>
          <pc:docMk/>
          <pc:sldMk cId="3736116159" sldId="2147468956"/>
        </pc:sldMkLst>
        <pc:spChg chg="mod">
          <ac:chgData name="Caroline Baker" userId="0fbdd6cc-5ea0-493c-bb40-f2bbc5de54ff" providerId="ADAL" clId="{7A398367-840A-FC48-9A3D-BBB937E4EAB6}" dt="2024-02-07T18:30:52.350" v="52" actId="313"/>
          <ac:spMkLst>
            <pc:docMk/>
            <pc:sldMk cId="3736116159" sldId="2147468956"/>
            <ac:spMk id="748" creationId="{52A172F7-40D3-395B-CCC6-FDB8624B34C3}"/>
          </ac:spMkLst>
        </pc:spChg>
        <pc:spChg chg="mod">
          <ac:chgData name="Caroline Baker" userId="0fbdd6cc-5ea0-493c-bb40-f2bbc5de54ff" providerId="ADAL" clId="{7A398367-840A-FC48-9A3D-BBB937E4EAB6}" dt="2024-02-07T20:48:18.215" v="110"/>
          <ac:spMkLst>
            <pc:docMk/>
            <pc:sldMk cId="3736116159" sldId="2147468956"/>
            <ac:spMk id="751" creationId="{3D178A78-CD9B-9B57-381E-6C79E4F668FB}"/>
          </ac:spMkLst>
        </pc:spChg>
        <pc:spChg chg="mod">
          <ac:chgData name="Caroline Baker" userId="0fbdd6cc-5ea0-493c-bb40-f2bbc5de54ff" providerId="ADAL" clId="{7A398367-840A-FC48-9A3D-BBB937E4EAB6}" dt="2024-02-07T20:56:27.893" v="150"/>
          <ac:spMkLst>
            <pc:docMk/>
            <pc:sldMk cId="3736116159" sldId="2147468956"/>
            <ac:spMk id="759" creationId="{3BADE806-97C4-C52D-6972-2F312E7D9938}"/>
          </ac:spMkLst>
        </pc:spChg>
      </pc:sldChg>
      <pc:sldChg chg="modSp">
        <pc:chgData name="Caroline Baker" userId="0fbdd6cc-5ea0-493c-bb40-f2bbc5de54ff" providerId="ADAL" clId="{7A398367-840A-FC48-9A3D-BBB937E4EAB6}" dt="2024-02-08T16:02:11.800" v="608"/>
        <pc:sldMkLst>
          <pc:docMk/>
          <pc:sldMk cId="3942209787" sldId="2147468957"/>
        </pc:sldMkLst>
        <pc:spChg chg="mod">
          <ac:chgData name="Caroline Baker" userId="0fbdd6cc-5ea0-493c-bb40-f2bbc5de54ff" providerId="ADAL" clId="{7A398367-840A-FC48-9A3D-BBB937E4EAB6}" dt="2024-02-08T16:02:11.800" v="608"/>
          <ac:spMkLst>
            <pc:docMk/>
            <pc:sldMk cId="3942209787" sldId="2147468957"/>
            <ac:spMk id="742" creationId="{C45ED160-274D-7D5D-6A82-81870E69F4BD}"/>
          </ac:spMkLst>
        </pc:spChg>
        <pc:spChg chg="mod">
          <ac:chgData name="Caroline Baker" userId="0fbdd6cc-5ea0-493c-bb40-f2bbc5de54ff" providerId="ADAL" clId="{7A398367-840A-FC48-9A3D-BBB937E4EAB6}" dt="2024-02-07T20:48:18.215" v="110"/>
          <ac:spMkLst>
            <pc:docMk/>
            <pc:sldMk cId="3942209787" sldId="2147468957"/>
            <ac:spMk id="751" creationId="{3D178A78-CD9B-9B57-381E-6C79E4F668FB}"/>
          </ac:spMkLst>
        </pc:spChg>
      </pc:sldChg>
      <pc:sldChg chg="modSp mod">
        <pc:chgData name="Caroline Baker" userId="0fbdd6cc-5ea0-493c-bb40-f2bbc5de54ff" providerId="ADAL" clId="{7A398367-840A-FC48-9A3D-BBB937E4EAB6}" dt="2024-02-08T16:05:56.520" v="638"/>
        <pc:sldMkLst>
          <pc:docMk/>
          <pc:sldMk cId="674218563" sldId="2147468958"/>
        </pc:sldMkLst>
        <pc:spChg chg="mod">
          <ac:chgData name="Caroline Baker" userId="0fbdd6cc-5ea0-493c-bb40-f2bbc5de54ff" providerId="ADAL" clId="{7A398367-840A-FC48-9A3D-BBB937E4EAB6}" dt="2024-02-08T16:05:56.520" v="638"/>
          <ac:spMkLst>
            <pc:docMk/>
            <pc:sldMk cId="674218563" sldId="2147468958"/>
            <ac:spMk id="742" creationId="{C45ED160-274D-7D5D-6A82-81870E69F4BD}"/>
          </ac:spMkLst>
        </pc:spChg>
        <pc:spChg chg="mod">
          <ac:chgData name="Caroline Baker" userId="0fbdd6cc-5ea0-493c-bb40-f2bbc5de54ff" providerId="ADAL" clId="{7A398367-840A-FC48-9A3D-BBB937E4EAB6}" dt="2024-02-07T21:10:06.711" v="266" actId="1036"/>
          <ac:spMkLst>
            <pc:docMk/>
            <pc:sldMk cId="674218563" sldId="2147468958"/>
            <ac:spMk id="747" creationId="{42314759-16C9-2A2E-4382-7C21536611C2}"/>
          </ac:spMkLst>
        </pc:spChg>
        <pc:spChg chg="mod">
          <ac:chgData name="Caroline Baker" userId="0fbdd6cc-5ea0-493c-bb40-f2bbc5de54ff" providerId="ADAL" clId="{7A398367-840A-FC48-9A3D-BBB937E4EAB6}" dt="2024-02-07T21:42:21.669" v="581" actId="20577"/>
          <ac:spMkLst>
            <pc:docMk/>
            <pc:sldMk cId="674218563" sldId="2147468958"/>
            <ac:spMk id="748" creationId="{52A172F7-40D3-395B-CCC6-FDB8624B34C3}"/>
          </ac:spMkLst>
        </pc:spChg>
        <pc:spChg chg="mod">
          <ac:chgData name="Caroline Baker" userId="0fbdd6cc-5ea0-493c-bb40-f2bbc5de54ff" providerId="ADAL" clId="{7A398367-840A-FC48-9A3D-BBB937E4EAB6}" dt="2024-02-07T20:48:18.215" v="110"/>
          <ac:spMkLst>
            <pc:docMk/>
            <pc:sldMk cId="674218563" sldId="2147468958"/>
            <ac:spMk id="751" creationId="{3D178A78-CD9B-9B57-381E-6C79E4F668FB}"/>
          </ac:spMkLst>
        </pc:spChg>
      </pc:sldChg>
      <pc:sldChg chg="modSp mod">
        <pc:chgData name="Caroline Baker" userId="0fbdd6cc-5ea0-493c-bb40-f2bbc5de54ff" providerId="ADAL" clId="{7A398367-840A-FC48-9A3D-BBB937E4EAB6}" dt="2024-02-07T21:10:31.204" v="267" actId="6549"/>
        <pc:sldMkLst>
          <pc:docMk/>
          <pc:sldMk cId="4180914857" sldId="2147468959"/>
        </pc:sldMkLst>
        <pc:spChg chg="mod">
          <ac:chgData name="Caroline Baker" userId="0fbdd6cc-5ea0-493c-bb40-f2bbc5de54ff" providerId="ADAL" clId="{7A398367-840A-FC48-9A3D-BBB937E4EAB6}" dt="2024-02-07T18:27:44.903" v="24" actId="20577"/>
          <ac:spMkLst>
            <pc:docMk/>
            <pc:sldMk cId="4180914857" sldId="2147468959"/>
            <ac:spMk id="747" creationId="{42314759-16C9-2A2E-4382-7C21536611C2}"/>
          </ac:spMkLst>
        </pc:spChg>
        <pc:spChg chg="mod">
          <ac:chgData name="Caroline Baker" userId="0fbdd6cc-5ea0-493c-bb40-f2bbc5de54ff" providerId="ADAL" clId="{7A398367-840A-FC48-9A3D-BBB937E4EAB6}" dt="2024-02-07T21:10:31.204" v="267" actId="6549"/>
          <ac:spMkLst>
            <pc:docMk/>
            <pc:sldMk cId="4180914857" sldId="2147468959"/>
            <ac:spMk id="749" creationId="{A50E6FED-D952-EBCF-AAC5-BD6B2EFDC8C8}"/>
          </ac:spMkLst>
        </pc:spChg>
        <pc:spChg chg="mod">
          <ac:chgData name="Caroline Baker" userId="0fbdd6cc-5ea0-493c-bb40-f2bbc5de54ff" providerId="ADAL" clId="{7A398367-840A-FC48-9A3D-BBB937E4EAB6}" dt="2024-02-07T20:48:18.215" v="110"/>
          <ac:spMkLst>
            <pc:docMk/>
            <pc:sldMk cId="4180914857" sldId="2147468959"/>
            <ac:spMk id="751" creationId="{3D178A78-CD9B-9B57-381E-6C79E4F668FB}"/>
          </ac:spMkLst>
        </pc:spChg>
      </pc:sldChg>
      <pc:sldChg chg="modSp mod">
        <pc:chgData name="Caroline Baker" userId="0fbdd6cc-5ea0-493c-bb40-f2bbc5de54ff" providerId="ADAL" clId="{7A398367-840A-FC48-9A3D-BBB937E4EAB6}" dt="2024-02-08T16:02:21.801" v="609"/>
        <pc:sldMkLst>
          <pc:docMk/>
          <pc:sldMk cId="3889839420" sldId="2147468960"/>
        </pc:sldMkLst>
        <pc:spChg chg="mod">
          <ac:chgData name="Caroline Baker" userId="0fbdd6cc-5ea0-493c-bb40-f2bbc5de54ff" providerId="ADAL" clId="{7A398367-840A-FC48-9A3D-BBB937E4EAB6}" dt="2024-02-07T21:01:37.654" v="188" actId="20577"/>
          <ac:spMkLst>
            <pc:docMk/>
            <pc:sldMk cId="3889839420" sldId="2147468960"/>
            <ac:spMk id="12" creationId="{24DCE1DE-6A54-2044-5C2B-53C05A73EF71}"/>
          </ac:spMkLst>
        </pc:spChg>
        <pc:spChg chg="mod">
          <ac:chgData name="Caroline Baker" userId="0fbdd6cc-5ea0-493c-bb40-f2bbc5de54ff" providerId="ADAL" clId="{7A398367-840A-FC48-9A3D-BBB937E4EAB6}" dt="2024-02-08T16:02:21.801" v="609"/>
          <ac:spMkLst>
            <pc:docMk/>
            <pc:sldMk cId="3889839420" sldId="2147468960"/>
            <ac:spMk id="742" creationId="{C45ED160-274D-7D5D-6A82-81870E69F4BD}"/>
          </ac:spMkLst>
        </pc:spChg>
        <pc:spChg chg="mod">
          <ac:chgData name="Caroline Baker" userId="0fbdd6cc-5ea0-493c-bb40-f2bbc5de54ff" providerId="ADAL" clId="{7A398367-840A-FC48-9A3D-BBB937E4EAB6}" dt="2024-02-07T20:48:18.215" v="110"/>
          <ac:spMkLst>
            <pc:docMk/>
            <pc:sldMk cId="3889839420" sldId="2147468960"/>
            <ac:spMk id="751" creationId="{3D178A78-CD9B-9B57-381E-6C79E4F668FB}"/>
          </ac:spMkLst>
        </pc:spChg>
      </pc:sldChg>
      <pc:sldChg chg="modSp">
        <pc:chgData name="Caroline Baker" userId="0fbdd6cc-5ea0-493c-bb40-f2bbc5de54ff" providerId="ADAL" clId="{7A398367-840A-FC48-9A3D-BBB937E4EAB6}" dt="2024-02-07T20:48:18.215" v="110"/>
        <pc:sldMkLst>
          <pc:docMk/>
          <pc:sldMk cId="863225718" sldId="2147468961"/>
        </pc:sldMkLst>
        <pc:spChg chg="mod">
          <ac:chgData name="Caroline Baker" userId="0fbdd6cc-5ea0-493c-bb40-f2bbc5de54ff" providerId="ADAL" clId="{7A398367-840A-FC48-9A3D-BBB937E4EAB6}" dt="2024-02-07T20:48:18.215" v="110"/>
          <ac:spMkLst>
            <pc:docMk/>
            <pc:sldMk cId="863225718" sldId="2147468961"/>
            <ac:spMk id="751" creationId="{3D178A78-CD9B-9B57-381E-6C79E4F668FB}"/>
          </ac:spMkLst>
        </pc:spChg>
      </pc:sldChg>
      <pc:sldChg chg="modSp mod">
        <pc:chgData name="Caroline Baker" userId="0fbdd6cc-5ea0-493c-bb40-f2bbc5de54ff" providerId="ADAL" clId="{7A398367-840A-FC48-9A3D-BBB937E4EAB6}" dt="2024-02-07T21:43:06.666" v="582" actId="20577"/>
        <pc:sldMkLst>
          <pc:docMk/>
          <pc:sldMk cId="1814168869" sldId="2147468962"/>
        </pc:sldMkLst>
        <pc:spChg chg="mod">
          <ac:chgData name="Caroline Baker" userId="0fbdd6cc-5ea0-493c-bb40-f2bbc5de54ff" providerId="ADAL" clId="{7A398367-840A-FC48-9A3D-BBB937E4EAB6}" dt="2024-02-07T18:28:38.062" v="27"/>
          <ac:spMkLst>
            <pc:docMk/>
            <pc:sldMk cId="1814168869" sldId="2147468962"/>
            <ac:spMk id="14" creationId="{69FEDB53-9DD4-106B-D9D5-1093D33E11BC}"/>
          </ac:spMkLst>
        </pc:spChg>
        <pc:spChg chg="mod">
          <ac:chgData name="Caroline Baker" userId="0fbdd6cc-5ea0-493c-bb40-f2bbc5de54ff" providerId="ADAL" clId="{7A398367-840A-FC48-9A3D-BBB937E4EAB6}" dt="2024-02-07T21:43:06.666" v="582" actId="20577"/>
          <ac:spMkLst>
            <pc:docMk/>
            <pc:sldMk cId="1814168869" sldId="2147468962"/>
            <ac:spMk id="742" creationId="{C45ED160-274D-7D5D-6A82-81870E69F4BD}"/>
          </ac:spMkLst>
        </pc:spChg>
        <pc:spChg chg="mod">
          <ac:chgData name="Caroline Baker" userId="0fbdd6cc-5ea0-493c-bb40-f2bbc5de54ff" providerId="ADAL" clId="{7A398367-840A-FC48-9A3D-BBB937E4EAB6}" dt="2024-02-07T18:28:38.062" v="27"/>
          <ac:spMkLst>
            <pc:docMk/>
            <pc:sldMk cId="1814168869" sldId="2147468962"/>
            <ac:spMk id="747" creationId="{42314759-16C9-2A2E-4382-7C21536611C2}"/>
          </ac:spMkLst>
        </pc:spChg>
        <pc:spChg chg="mod">
          <ac:chgData name="Caroline Baker" userId="0fbdd6cc-5ea0-493c-bb40-f2bbc5de54ff" providerId="ADAL" clId="{7A398367-840A-FC48-9A3D-BBB937E4EAB6}" dt="2024-02-07T18:28:49.232" v="34" actId="20577"/>
          <ac:spMkLst>
            <pc:docMk/>
            <pc:sldMk cId="1814168869" sldId="2147468962"/>
            <ac:spMk id="748" creationId="{52A172F7-40D3-395B-CCC6-FDB8624B34C3}"/>
          </ac:spMkLst>
        </pc:spChg>
        <pc:spChg chg="mod">
          <ac:chgData name="Caroline Baker" userId="0fbdd6cc-5ea0-493c-bb40-f2bbc5de54ff" providerId="ADAL" clId="{7A398367-840A-FC48-9A3D-BBB937E4EAB6}" dt="2024-02-07T20:48:18.215" v="110"/>
          <ac:spMkLst>
            <pc:docMk/>
            <pc:sldMk cId="1814168869" sldId="2147468962"/>
            <ac:spMk id="751" creationId="{3D178A78-CD9B-9B57-381E-6C79E4F668FB}"/>
          </ac:spMkLst>
        </pc:spChg>
      </pc:sldChg>
      <pc:sldChg chg="modSp mod">
        <pc:chgData name="Caroline Baker" userId="0fbdd6cc-5ea0-493c-bb40-f2bbc5de54ff" providerId="ADAL" clId="{7A398367-840A-FC48-9A3D-BBB937E4EAB6}" dt="2024-02-08T16:14:33.795" v="688"/>
        <pc:sldMkLst>
          <pc:docMk/>
          <pc:sldMk cId="2889306989" sldId="2147468963"/>
        </pc:sldMkLst>
        <pc:spChg chg="mod">
          <ac:chgData name="Caroline Baker" userId="0fbdd6cc-5ea0-493c-bb40-f2bbc5de54ff" providerId="ADAL" clId="{7A398367-840A-FC48-9A3D-BBB937E4EAB6}" dt="2024-02-08T16:14:33.795" v="688"/>
          <ac:spMkLst>
            <pc:docMk/>
            <pc:sldMk cId="2889306989" sldId="2147468963"/>
            <ac:spMk id="742" creationId="{C45ED160-274D-7D5D-6A82-81870E69F4BD}"/>
          </ac:spMkLst>
        </pc:spChg>
        <pc:spChg chg="mod">
          <ac:chgData name="Caroline Baker" userId="0fbdd6cc-5ea0-493c-bb40-f2bbc5de54ff" providerId="ADAL" clId="{7A398367-840A-FC48-9A3D-BBB937E4EAB6}" dt="2024-02-07T21:40:04.431" v="568" actId="1036"/>
          <ac:spMkLst>
            <pc:docMk/>
            <pc:sldMk cId="2889306989" sldId="2147468963"/>
            <ac:spMk id="749" creationId="{A50E6FED-D952-EBCF-AAC5-BD6B2EFDC8C8}"/>
          </ac:spMkLst>
        </pc:spChg>
        <pc:spChg chg="mod">
          <ac:chgData name="Caroline Baker" userId="0fbdd6cc-5ea0-493c-bb40-f2bbc5de54ff" providerId="ADAL" clId="{7A398367-840A-FC48-9A3D-BBB937E4EAB6}" dt="2024-02-07T20:48:18.215" v="110"/>
          <ac:spMkLst>
            <pc:docMk/>
            <pc:sldMk cId="2889306989" sldId="2147468963"/>
            <ac:spMk id="751" creationId="{3D178A78-CD9B-9B57-381E-6C79E4F668FB}"/>
          </ac:spMkLst>
        </pc:spChg>
      </pc:sldChg>
      <pc:sldChg chg="modSp mod">
        <pc:chgData name="Caroline Baker" userId="0fbdd6cc-5ea0-493c-bb40-f2bbc5de54ff" providerId="ADAL" clId="{7A398367-840A-FC48-9A3D-BBB937E4EAB6}" dt="2024-02-07T21:27:26.943" v="414" actId="20577"/>
        <pc:sldMkLst>
          <pc:docMk/>
          <pc:sldMk cId="4180073948" sldId="2147468964"/>
        </pc:sldMkLst>
        <pc:spChg chg="mod">
          <ac:chgData name="Caroline Baker" userId="0fbdd6cc-5ea0-493c-bb40-f2bbc5de54ff" providerId="ADAL" clId="{7A398367-840A-FC48-9A3D-BBB937E4EAB6}" dt="2024-02-07T18:30:45.891" v="51" actId="313"/>
          <ac:spMkLst>
            <pc:docMk/>
            <pc:sldMk cId="4180073948" sldId="2147468964"/>
            <ac:spMk id="747" creationId="{42314759-16C9-2A2E-4382-7C21536611C2}"/>
          </ac:spMkLst>
        </pc:spChg>
        <pc:spChg chg="mod">
          <ac:chgData name="Caroline Baker" userId="0fbdd6cc-5ea0-493c-bb40-f2bbc5de54ff" providerId="ADAL" clId="{7A398367-840A-FC48-9A3D-BBB937E4EAB6}" dt="2024-02-07T21:27:26.943" v="414" actId="20577"/>
          <ac:spMkLst>
            <pc:docMk/>
            <pc:sldMk cId="4180073948" sldId="2147468964"/>
            <ac:spMk id="749" creationId="{A50E6FED-D952-EBCF-AAC5-BD6B2EFDC8C8}"/>
          </ac:spMkLst>
        </pc:spChg>
        <pc:spChg chg="mod">
          <ac:chgData name="Caroline Baker" userId="0fbdd6cc-5ea0-493c-bb40-f2bbc5de54ff" providerId="ADAL" clId="{7A398367-840A-FC48-9A3D-BBB937E4EAB6}" dt="2024-02-07T20:48:18.215" v="110"/>
          <ac:spMkLst>
            <pc:docMk/>
            <pc:sldMk cId="4180073948" sldId="2147468964"/>
            <ac:spMk id="751" creationId="{3D178A78-CD9B-9B57-381E-6C79E4F668FB}"/>
          </ac:spMkLst>
        </pc:spChg>
      </pc:sldChg>
      <pc:sldChg chg="modSp mod">
        <pc:chgData name="Caroline Baker" userId="0fbdd6cc-5ea0-493c-bb40-f2bbc5de54ff" providerId="ADAL" clId="{7A398367-840A-FC48-9A3D-BBB937E4EAB6}" dt="2024-02-07T21:27:09.143" v="413" actId="20577"/>
        <pc:sldMkLst>
          <pc:docMk/>
          <pc:sldMk cId="641738997" sldId="2147468965"/>
        </pc:sldMkLst>
        <pc:spChg chg="mod">
          <ac:chgData name="Caroline Baker" userId="0fbdd6cc-5ea0-493c-bb40-f2bbc5de54ff" providerId="ADAL" clId="{7A398367-840A-FC48-9A3D-BBB937E4EAB6}" dt="2024-02-07T21:26:29.954" v="402" actId="20577"/>
          <ac:spMkLst>
            <pc:docMk/>
            <pc:sldMk cId="641738997" sldId="2147468965"/>
            <ac:spMk id="747" creationId="{42314759-16C9-2A2E-4382-7C21536611C2}"/>
          </ac:spMkLst>
        </pc:spChg>
        <pc:spChg chg="mod">
          <ac:chgData name="Caroline Baker" userId="0fbdd6cc-5ea0-493c-bb40-f2bbc5de54ff" providerId="ADAL" clId="{7A398367-840A-FC48-9A3D-BBB937E4EAB6}" dt="2024-02-07T21:27:09.143" v="413" actId="20577"/>
          <ac:spMkLst>
            <pc:docMk/>
            <pc:sldMk cId="641738997" sldId="2147468965"/>
            <ac:spMk id="748" creationId="{52A172F7-40D3-395B-CCC6-FDB8624B34C3}"/>
          </ac:spMkLst>
        </pc:spChg>
        <pc:spChg chg="mod">
          <ac:chgData name="Caroline Baker" userId="0fbdd6cc-5ea0-493c-bb40-f2bbc5de54ff" providerId="ADAL" clId="{7A398367-840A-FC48-9A3D-BBB937E4EAB6}" dt="2024-02-07T21:26:40.145" v="406" actId="20577"/>
          <ac:spMkLst>
            <pc:docMk/>
            <pc:sldMk cId="641738997" sldId="2147468965"/>
            <ac:spMk id="749" creationId="{A50E6FED-D952-EBCF-AAC5-BD6B2EFDC8C8}"/>
          </ac:spMkLst>
        </pc:spChg>
        <pc:spChg chg="mod">
          <ac:chgData name="Caroline Baker" userId="0fbdd6cc-5ea0-493c-bb40-f2bbc5de54ff" providerId="ADAL" clId="{7A398367-840A-FC48-9A3D-BBB937E4EAB6}" dt="2024-02-07T20:48:18.215" v="110"/>
          <ac:spMkLst>
            <pc:docMk/>
            <pc:sldMk cId="641738997" sldId="2147468965"/>
            <ac:spMk id="751" creationId="{3D178A78-CD9B-9B57-381E-6C79E4F668FB}"/>
          </ac:spMkLst>
        </pc:spChg>
      </pc:sldChg>
      <pc:sldChg chg="modSp mod">
        <pc:chgData name="Caroline Baker" userId="0fbdd6cc-5ea0-493c-bb40-f2bbc5de54ff" providerId="ADAL" clId="{7A398367-840A-FC48-9A3D-BBB937E4EAB6}" dt="2024-02-08T16:03:00.738" v="620"/>
        <pc:sldMkLst>
          <pc:docMk/>
          <pc:sldMk cId="1585400437" sldId="2147468966"/>
        </pc:sldMkLst>
        <pc:spChg chg="mod">
          <ac:chgData name="Caroline Baker" userId="0fbdd6cc-5ea0-493c-bb40-f2bbc5de54ff" providerId="ADAL" clId="{7A398367-840A-FC48-9A3D-BBB937E4EAB6}" dt="2024-02-07T21:03:20.539" v="210" actId="6549"/>
          <ac:spMkLst>
            <pc:docMk/>
            <pc:sldMk cId="1585400437" sldId="2147468966"/>
            <ac:spMk id="14" creationId="{4B70E307-DAE3-83BC-003A-38FABC51E995}"/>
          </ac:spMkLst>
        </pc:spChg>
        <pc:spChg chg="mod">
          <ac:chgData name="Caroline Baker" userId="0fbdd6cc-5ea0-493c-bb40-f2bbc5de54ff" providerId="ADAL" clId="{7A398367-840A-FC48-9A3D-BBB937E4EAB6}" dt="2024-02-08T16:03:00.738" v="620"/>
          <ac:spMkLst>
            <pc:docMk/>
            <pc:sldMk cId="1585400437" sldId="2147468966"/>
            <ac:spMk id="742" creationId="{C45ED160-274D-7D5D-6A82-81870E69F4BD}"/>
          </ac:spMkLst>
        </pc:spChg>
        <pc:spChg chg="mod">
          <ac:chgData name="Caroline Baker" userId="0fbdd6cc-5ea0-493c-bb40-f2bbc5de54ff" providerId="ADAL" clId="{7A398367-840A-FC48-9A3D-BBB937E4EAB6}" dt="2024-02-07T21:03:23.456" v="214" actId="20577"/>
          <ac:spMkLst>
            <pc:docMk/>
            <pc:sldMk cId="1585400437" sldId="2147468966"/>
            <ac:spMk id="747" creationId="{42314759-16C9-2A2E-4382-7C21536611C2}"/>
          </ac:spMkLst>
        </pc:spChg>
        <pc:spChg chg="mod">
          <ac:chgData name="Caroline Baker" userId="0fbdd6cc-5ea0-493c-bb40-f2bbc5de54ff" providerId="ADAL" clId="{7A398367-840A-FC48-9A3D-BBB937E4EAB6}" dt="2024-02-07T20:48:18.215" v="110"/>
          <ac:spMkLst>
            <pc:docMk/>
            <pc:sldMk cId="1585400437" sldId="2147468966"/>
            <ac:spMk id="751" creationId="{3D178A78-CD9B-9B57-381E-6C79E4F668FB}"/>
          </ac:spMkLst>
        </pc:spChg>
      </pc:sldChg>
      <pc:sldChg chg="modSp">
        <pc:chgData name="Caroline Baker" userId="0fbdd6cc-5ea0-493c-bb40-f2bbc5de54ff" providerId="ADAL" clId="{7A398367-840A-FC48-9A3D-BBB937E4EAB6}" dt="2024-02-08T16:11:25.634" v="663"/>
        <pc:sldMkLst>
          <pc:docMk/>
          <pc:sldMk cId="1706440644" sldId="2147468967"/>
        </pc:sldMkLst>
        <pc:spChg chg="mod">
          <ac:chgData name="Caroline Baker" userId="0fbdd6cc-5ea0-493c-bb40-f2bbc5de54ff" providerId="ADAL" clId="{7A398367-840A-FC48-9A3D-BBB937E4EAB6}" dt="2024-02-08T16:11:25.634" v="663"/>
          <ac:spMkLst>
            <pc:docMk/>
            <pc:sldMk cId="1706440644" sldId="2147468967"/>
            <ac:spMk id="742" creationId="{C45ED160-274D-7D5D-6A82-81870E69F4BD}"/>
          </ac:spMkLst>
        </pc:spChg>
        <pc:spChg chg="mod">
          <ac:chgData name="Caroline Baker" userId="0fbdd6cc-5ea0-493c-bb40-f2bbc5de54ff" providerId="ADAL" clId="{7A398367-840A-FC48-9A3D-BBB937E4EAB6}" dt="2024-02-07T20:48:18.215" v="110"/>
          <ac:spMkLst>
            <pc:docMk/>
            <pc:sldMk cId="1706440644" sldId="2147468967"/>
            <ac:spMk id="751" creationId="{3D178A78-CD9B-9B57-381E-6C79E4F668FB}"/>
          </ac:spMkLst>
        </pc:spChg>
      </pc:sldChg>
      <pc:sldChg chg="modSp mod">
        <pc:chgData name="Caroline Baker" userId="0fbdd6cc-5ea0-493c-bb40-f2bbc5de54ff" providerId="ADAL" clId="{7A398367-840A-FC48-9A3D-BBB937E4EAB6}" dt="2024-02-08T16:13:53.027" v="682"/>
        <pc:sldMkLst>
          <pc:docMk/>
          <pc:sldMk cId="2333652703" sldId="2147468968"/>
        </pc:sldMkLst>
        <pc:spChg chg="mod">
          <ac:chgData name="Caroline Baker" userId="0fbdd6cc-5ea0-493c-bb40-f2bbc5de54ff" providerId="ADAL" clId="{7A398367-840A-FC48-9A3D-BBB937E4EAB6}" dt="2024-02-08T16:13:53.027" v="682"/>
          <ac:spMkLst>
            <pc:docMk/>
            <pc:sldMk cId="2333652703" sldId="2147468968"/>
            <ac:spMk id="742" creationId="{C45ED160-274D-7D5D-6A82-81870E69F4BD}"/>
          </ac:spMkLst>
        </pc:spChg>
        <pc:spChg chg="mod">
          <ac:chgData name="Caroline Baker" userId="0fbdd6cc-5ea0-493c-bb40-f2bbc5de54ff" providerId="ADAL" clId="{7A398367-840A-FC48-9A3D-BBB937E4EAB6}" dt="2024-02-07T21:33:53.341" v="554" actId="20577"/>
          <ac:spMkLst>
            <pc:docMk/>
            <pc:sldMk cId="2333652703" sldId="2147468968"/>
            <ac:spMk id="747" creationId="{42314759-16C9-2A2E-4382-7C21536611C2}"/>
          </ac:spMkLst>
        </pc:spChg>
        <pc:spChg chg="mod">
          <ac:chgData name="Caroline Baker" userId="0fbdd6cc-5ea0-493c-bb40-f2bbc5de54ff" providerId="ADAL" clId="{7A398367-840A-FC48-9A3D-BBB937E4EAB6}" dt="2024-02-07T20:48:18.215" v="110"/>
          <ac:spMkLst>
            <pc:docMk/>
            <pc:sldMk cId="2333652703" sldId="2147468968"/>
            <ac:spMk id="751" creationId="{3D178A78-CD9B-9B57-381E-6C79E4F668FB}"/>
          </ac:spMkLst>
        </pc:spChg>
      </pc:sldChg>
      <pc:sldChg chg="modSp mod">
        <pc:chgData name="Caroline Baker" userId="0fbdd6cc-5ea0-493c-bb40-f2bbc5de54ff" providerId="ADAL" clId="{7A398367-840A-FC48-9A3D-BBB937E4EAB6}" dt="2024-02-08T16:10:39.262" v="655"/>
        <pc:sldMkLst>
          <pc:docMk/>
          <pc:sldMk cId="961251085" sldId="2147468970"/>
        </pc:sldMkLst>
        <pc:spChg chg="mod">
          <ac:chgData name="Caroline Baker" userId="0fbdd6cc-5ea0-493c-bb40-f2bbc5de54ff" providerId="ADAL" clId="{7A398367-840A-FC48-9A3D-BBB937E4EAB6}" dt="2024-02-08T16:10:39.262" v="655"/>
          <ac:spMkLst>
            <pc:docMk/>
            <pc:sldMk cId="961251085" sldId="2147468970"/>
            <ac:spMk id="742" creationId="{C45ED160-274D-7D5D-6A82-81870E69F4BD}"/>
          </ac:spMkLst>
        </pc:spChg>
        <pc:spChg chg="mod">
          <ac:chgData name="Caroline Baker" userId="0fbdd6cc-5ea0-493c-bb40-f2bbc5de54ff" providerId="ADAL" clId="{7A398367-840A-FC48-9A3D-BBB937E4EAB6}" dt="2024-02-07T20:48:18.215" v="110"/>
          <ac:spMkLst>
            <pc:docMk/>
            <pc:sldMk cId="961251085" sldId="2147468970"/>
            <ac:spMk id="751" creationId="{3D178A78-CD9B-9B57-381E-6C79E4F668FB}"/>
          </ac:spMkLst>
        </pc:spChg>
        <pc:spChg chg="mod">
          <ac:chgData name="Caroline Baker" userId="0fbdd6cc-5ea0-493c-bb40-f2bbc5de54ff" providerId="ADAL" clId="{7A398367-840A-FC48-9A3D-BBB937E4EAB6}" dt="2024-02-07T21:22:20.890" v="361" actId="1035"/>
          <ac:spMkLst>
            <pc:docMk/>
            <pc:sldMk cId="961251085" sldId="2147468970"/>
            <ac:spMk id="755" creationId="{2C81BA28-BF01-1AFB-6F1B-C3A82383E1EE}"/>
          </ac:spMkLst>
        </pc:spChg>
      </pc:sldChg>
      <pc:sldChg chg="modSp mod">
        <pc:chgData name="Caroline Baker" userId="0fbdd6cc-5ea0-493c-bb40-f2bbc5de54ff" providerId="ADAL" clId="{7A398367-840A-FC48-9A3D-BBB937E4EAB6}" dt="2024-02-08T16:10:52.425" v="658"/>
        <pc:sldMkLst>
          <pc:docMk/>
          <pc:sldMk cId="1104085016" sldId="2147468971"/>
        </pc:sldMkLst>
        <pc:spChg chg="mod">
          <ac:chgData name="Caroline Baker" userId="0fbdd6cc-5ea0-493c-bb40-f2bbc5de54ff" providerId="ADAL" clId="{7A398367-840A-FC48-9A3D-BBB937E4EAB6}" dt="2024-02-08T16:10:52.425" v="658"/>
          <ac:spMkLst>
            <pc:docMk/>
            <pc:sldMk cId="1104085016" sldId="2147468971"/>
            <ac:spMk id="742" creationId="{C45ED160-274D-7D5D-6A82-81870E69F4BD}"/>
          </ac:spMkLst>
        </pc:spChg>
        <pc:spChg chg="mod">
          <ac:chgData name="Caroline Baker" userId="0fbdd6cc-5ea0-493c-bb40-f2bbc5de54ff" providerId="ADAL" clId="{7A398367-840A-FC48-9A3D-BBB937E4EAB6}" dt="2024-02-07T21:22:34.063" v="367" actId="20577"/>
          <ac:spMkLst>
            <pc:docMk/>
            <pc:sldMk cId="1104085016" sldId="2147468971"/>
            <ac:spMk id="747" creationId="{42314759-16C9-2A2E-4382-7C21536611C2}"/>
          </ac:spMkLst>
        </pc:spChg>
        <pc:spChg chg="mod">
          <ac:chgData name="Caroline Baker" userId="0fbdd6cc-5ea0-493c-bb40-f2bbc5de54ff" providerId="ADAL" clId="{7A398367-840A-FC48-9A3D-BBB937E4EAB6}" dt="2024-02-07T20:48:18.215" v="110"/>
          <ac:spMkLst>
            <pc:docMk/>
            <pc:sldMk cId="1104085016" sldId="2147468971"/>
            <ac:spMk id="751" creationId="{3D178A78-CD9B-9B57-381E-6C79E4F668FB}"/>
          </ac:spMkLst>
        </pc:spChg>
        <pc:spChg chg="mod">
          <ac:chgData name="Caroline Baker" userId="0fbdd6cc-5ea0-493c-bb40-f2bbc5de54ff" providerId="ADAL" clId="{7A398367-840A-FC48-9A3D-BBB937E4EAB6}" dt="2024-02-07T21:22:46.699" v="371" actId="1035"/>
          <ac:spMkLst>
            <pc:docMk/>
            <pc:sldMk cId="1104085016" sldId="2147468971"/>
            <ac:spMk id="755" creationId="{2C81BA28-BF01-1AFB-6F1B-C3A82383E1EE}"/>
          </ac:spMkLst>
        </pc:spChg>
      </pc:sldChg>
      <pc:sldChg chg="modSp mod">
        <pc:chgData name="Caroline Baker" userId="0fbdd6cc-5ea0-493c-bb40-f2bbc5de54ff" providerId="ADAL" clId="{7A398367-840A-FC48-9A3D-BBB937E4EAB6}" dt="2024-02-07T21:21:13.341" v="348" actId="20577"/>
        <pc:sldMkLst>
          <pc:docMk/>
          <pc:sldMk cId="551777278" sldId="2147468972"/>
        </pc:sldMkLst>
        <pc:spChg chg="mod">
          <ac:chgData name="Caroline Baker" userId="0fbdd6cc-5ea0-493c-bb40-f2bbc5de54ff" providerId="ADAL" clId="{7A398367-840A-FC48-9A3D-BBB937E4EAB6}" dt="2024-02-07T21:21:13.341" v="348" actId="20577"/>
          <ac:spMkLst>
            <pc:docMk/>
            <pc:sldMk cId="551777278" sldId="2147468972"/>
            <ac:spMk id="742" creationId="{C45ED160-274D-7D5D-6A82-81870E69F4BD}"/>
          </ac:spMkLst>
        </pc:spChg>
        <pc:spChg chg="mod">
          <ac:chgData name="Caroline Baker" userId="0fbdd6cc-5ea0-493c-bb40-f2bbc5de54ff" providerId="ADAL" clId="{7A398367-840A-FC48-9A3D-BBB937E4EAB6}" dt="2024-02-07T21:20:54.242" v="345"/>
          <ac:spMkLst>
            <pc:docMk/>
            <pc:sldMk cId="551777278" sldId="2147468972"/>
            <ac:spMk id="747" creationId="{42314759-16C9-2A2E-4382-7C21536611C2}"/>
          </ac:spMkLst>
        </pc:spChg>
        <pc:spChg chg="mod">
          <ac:chgData name="Caroline Baker" userId="0fbdd6cc-5ea0-493c-bb40-f2bbc5de54ff" providerId="ADAL" clId="{7A398367-840A-FC48-9A3D-BBB937E4EAB6}" dt="2024-02-07T21:21:06.950" v="346"/>
          <ac:spMkLst>
            <pc:docMk/>
            <pc:sldMk cId="551777278" sldId="2147468972"/>
            <ac:spMk id="748" creationId="{52A172F7-40D3-395B-CCC6-FDB8624B34C3}"/>
          </ac:spMkLst>
        </pc:spChg>
        <pc:spChg chg="mod">
          <ac:chgData name="Caroline Baker" userId="0fbdd6cc-5ea0-493c-bb40-f2bbc5de54ff" providerId="ADAL" clId="{7A398367-840A-FC48-9A3D-BBB937E4EAB6}" dt="2024-02-07T20:48:18.215" v="110"/>
          <ac:spMkLst>
            <pc:docMk/>
            <pc:sldMk cId="551777278" sldId="2147468972"/>
            <ac:spMk id="751" creationId="{3D178A78-CD9B-9B57-381E-6C79E4F668FB}"/>
          </ac:spMkLst>
        </pc:spChg>
      </pc:sldChg>
      <pc:sldChg chg="modSp mod">
        <pc:chgData name="Caroline Baker" userId="0fbdd6cc-5ea0-493c-bb40-f2bbc5de54ff" providerId="ADAL" clId="{7A398367-840A-FC48-9A3D-BBB937E4EAB6}" dt="2024-02-07T21:18:55.106" v="324" actId="20577"/>
        <pc:sldMkLst>
          <pc:docMk/>
          <pc:sldMk cId="3198513499" sldId="2147468973"/>
        </pc:sldMkLst>
        <pc:spChg chg="mod">
          <ac:chgData name="Caroline Baker" userId="0fbdd6cc-5ea0-493c-bb40-f2bbc5de54ff" providerId="ADAL" clId="{7A398367-840A-FC48-9A3D-BBB937E4EAB6}" dt="2024-02-07T20:48:18.215" v="110"/>
          <ac:spMkLst>
            <pc:docMk/>
            <pc:sldMk cId="3198513499" sldId="2147468973"/>
            <ac:spMk id="751" creationId="{3D178A78-CD9B-9B57-381E-6C79E4F668FB}"/>
          </ac:spMkLst>
        </pc:spChg>
        <pc:spChg chg="mod">
          <ac:chgData name="Caroline Baker" userId="0fbdd6cc-5ea0-493c-bb40-f2bbc5de54ff" providerId="ADAL" clId="{7A398367-840A-FC48-9A3D-BBB937E4EAB6}" dt="2024-02-07T21:18:55.106" v="324" actId="20577"/>
          <ac:spMkLst>
            <pc:docMk/>
            <pc:sldMk cId="3198513499" sldId="2147468973"/>
            <ac:spMk id="759" creationId="{3BADE806-97C4-C52D-6972-2F312E7D9938}"/>
          </ac:spMkLst>
        </pc:spChg>
      </pc:sldChg>
      <pc:sldChg chg="modSp">
        <pc:chgData name="Caroline Baker" userId="0fbdd6cc-5ea0-493c-bb40-f2bbc5de54ff" providerId="ADAL" clId="{7A398367-840A-FC48-9A3D-BBB937E4EAB6}" dt="2024-02-08T16:03:12.029" v="622"/>
        <pc:sldMkLst>
          <pc:docMk/>
          <pc:sldMk cId="3778263138" sldId="2147468977"/>
        </pc:sldMkLst>
        <pc:spChg chg="mod">
          <ac:chgData name="Caroline Baker" userId="0fbdd6cc-5ea0-493c-bb40-f2bbc5de54ff" providerId="ADAL" clId="{7A398367-840A-FC48-9A3D-BBB937E4EAB6}" dt="2024-02-08T16:03:12.029" v="622"/>
          <ac:spMkLst>
            <pc:docMk/>
            <pc:sldMk cId="3778263138" sldId="2147468977"/>
            <ac:spMk id="742" creationId="{C45ED160-274D-7D5D-6A82-81870E69F4BD}"/>
          </ac:spMkLst>
        </pc:spChg>
      </pc:sldChg>
      <pc:sldChg chg="modSp mod">
        <pc:chgData name="Caroline Baker" userId="0fbdd6cc-5ea0-493c-bb40-f2bbc5de54ff" providerId="ADAL" clId="{7A398367-840A-FC48-9A3D-BBB937E4EAB6}" dt="2024-02-07T21:01:15.795" v="187" actId="20577"/>
        <pc:sldMkLst>
          <pc:docMk/>
          <pc:sldMk cId="829282926" sldId="2147468978"/>
        </pc:sldMkLst>
        <pc:spChg chg="mod">
          <ac:chgData name="Caroline Baker" userId="0fbdd6cc-5ea0-493c-bb40-f2bbc5de54ff" providerId="ADAL" clId="{7A398367-840A-FC48-9A3D-BBB937E4EAB6}" dt="2024-02-07T21:01:15.795" v="187" actId="20577"/>
          <ac:spMkLst>
            <pc:docMk/>
            <pc:sldMk cId="829282926" sldId="2147468978"/>
            <ac:spMk id="760" creationId="{16F0A96B-3D1E-E8DF-AC52-46F2C43A756E}"/>
          </ac:spMkLst>
        </pc:spChg>
      </pc:sldChg>
      <pc:sldChg chg="modSp">
        <pc:chgData name="Caroline Baker" userId="0fbdd6cc-5ea0-493c-bb40-f2bbc5de54ff" providerId="ADAL" clId="{7A398367-840A-FC48-9A3D-BBB937E4EAB6}" dt="2024-02-08T16:11:04.976" v="660"/>
        <pc:sldMkLst>
          <pc:docMk/>
          <pc:sldMk cId="4090729782" sldId="2147468979"/>
        </pc:sldMkLst>
        <pc:spChg chg="mod">
          <ac:chgData name="Caroline Baker" userId="0fbdd6cc-5ea0-493c-bb40-f2bbc5de54ff" providerId="ADAL" clId="{7A398367-840A-FC48-9A3D-BBB937E4EAB6}" dt="2024-02-08T16:11:04.976" v="660"/>
          <ac:spMkLst>
            <pc:docMk/>
            <pc:sldMk cId="4090729782" sldId="2147468979"/>
            <ac:spMk id="742" creationId="{C45ED160-274D-7D5D-6A82-81870E69F4BD}"/>
          </ac:spMkLst>
        </pc:spChg>
        <pc:spChg chg="mod">
          <ac:chgData name="Caroline Baker" userId="0fbdd6cc-5ea0-493c-bb40-f2bbc5de54ff" providerId="ADAL" clId="{7A398367-840A-FC48-9A3D-BBB937E4EAB6}" dt="2024-02-07T20:48:18.215" v="110"/>
          <ac:spMkLst>
            <pc:docMk/>
            <pc:sldMk cId="4090729782" sldId="2147468979"/>
            <ac:spMk id="751" creationId="{3D178A78-CD9B-9B57-381E-6C79E4F668FB}"/>
          </ac:spMkLst>
        </pc:spChg>
      </pc:sldChg>
      <pc:sldChg chg="modSp mod">
        <pc:chgData name="Caroline Baker" userId="0fbdd6cc-5ea0-493c-bb40-f2bbc5de54ff" providerId="ADAL" clId="{7A398367-840A-FC48-9A3D-BBB937E4EAB6}" dt="2024-02-08T15:56:43.958" v="584"/>
        <pc:sldMkLst>
          <pc:docMk/>
          <pc:sldMk cId="804094735" sldId="2147468981"/>
        </pc:sldMkLst>
        <pc:spChg chg="mod">
          <ac:chgData name="Caroline Baker" userId="0fbdd6cc-5ea0-493c-bb40-f2bbc5de54ff" providerId="ADAL" clId="{7A398367-840A-FC48-9A3D-BBB937E4EAB6}" dt="2024-02-07T20:44:50.408" v="80" actId="20577"/>
          <ac:spMkLst>
            <pc:docMk/>
            <pc:sldMk cId="804094735" sldId="2147468981"/>
            <ac:spMk id="20" creationId="{8BC02F85-542C-62AC-AE9B-960CD2FC3FDC}"/>
          </ac:spMkLst>
        </pc:spChg>
        <pc:spChg chg="mod">
          <ac:chgData name="Caroline Baker" userId="0fbdd6cc-5ea0-493c-bb40-f2bbc5de54ff" providerId="ADAL" clId="{7A398367-840A-FC48-9A3D-BBB937E4EAB6}" dt="2024-02-08T15:56:43.958" v="584"/>
          <ac:spMkLst>
            <pc:docMk/>
            <pc:sldMk cId="804094735" sldId="2147468981"/>
            <ac:spMk id="742" creationId="{C45ED160-274D-7D5D-6A82-81870E69F4BD}"/>
          </ac:spMkLst>
        </pc:spChg>
        <pc:spChg chg="mod">
          <ac:chgData name="Caroline Baker" userId="0fbdd6cc-5ea0-493c-bb40-f2bbc5de54ff" providerId="ADAL" clId="{7A398367-840A-FC48-9A3D-BBB937E4EAB6}" dt="2024-02-07T20:48:18.215" v="110"/>
          <ac:spMkLst>
            <pc:docMk/>
            <pc:sldMk cId="804094735" sldId="2147468981"/>
            <ac:spMk id="751" creationId="{3D178A78-CD9B-9B57-381E-6C79E4F668FB}"/>
          </ac:spMkLst>
        </pc:spChg>
      </pc:sldChg>
      <pc:sldChg chg="modSp mod">
        <pc:chgData name="Caroline Baker" userId="0fbdd6cc-5ea0-493c-bb40-f2bbc5de54ff" providerId="ADAL" clId="{7A398367-840A-FC48-9A3D-BBB937E4EAB6}" dt="2024-02-08T16:12:59.647" v="676" actId="313"/>
        <pc:sldMkLst>
          <pc:docMk/>
          <pc:sldMk cId="1416273980" sldId="2147468982"/>
        </pc:sldMkLst>
        <pc:spChg chg="mod">
          <ac:chgData name="Caroline Baker" userId="0fbdd6cc-5ea0-493c-bb40-f2bbc5de54ff" providerId="ADAL" clId="{7A398367-840A-FC48-9A3D-BBB937E4EAB6}" dt="2024-02-07T20:56:27.893" v="150"/>
          <ac:spMkLst>
            <pc:docMk/>
            <pc:sldMk cId="1416273980" sldId="2147468982"/>
            <ac:spMk id="20" creationId="{8BC02F85-542C-62AC-AE9B-960CD2FC3FDC}"/>
          </ac:spMkLst>
        </pc:spChg>
        <pc:spChg chg="mod">
          <ac:chgData name="Caroline Baker" userId="0fbdd6cc-5ea0-493c-bb40-f2bbc5de54ff" providerId="ADAL" clId="{7A398367-840A-FC48-9A3D-BBB937E4EAB6}" dt="2024-02-08T16:12:59.647" v="676" actId="313"/>
          <ac:spMkLst>
            <pc:docMk/>
            <pc:sldMk cId="1416273980" sldId="2147468982"/>
            <ac:spMk id="742" creationId="{C45ED160-274D-7D5D-6A82-81870E69F4BD}"/>
          </ac:spMkLst>
        </pc:spChg>
        <pc:spChg chg="mod">
          <ac:chgData name="Caroline Baker" userId="0fbdd6cc-5ea0-493c-bb40-f2bbc5de54ff" providerId="ADAL" clId="{7A398367-840A-FC48-9A3D-BBB937E4EAB6}" dt="2024-02-07T20:48:18.215" v="110"/>
          <ac:spMkLst>
            <pc:docMk/>
            <pc:sldMk cId="1416273980" sldId="2147468982"/>
            <ac:spMk id="751" creationId="{3D178A78-CD9B-9B57-381E-6C79E4F668FB}"/>
          </ac:spMkLst>
        </pc:spChg>
      </pc:sldChg>
      <pc:sldChg chg="modSp mod">
        <pc:chgData name="Caroline Baker" userId="0fbdd6cc-5ea0-493c-bb40-f2bbc5de54ff" providerId="ADAL" clId="{7A398367-840A-FC48-9A3D-BBB937E4EAB6}" dt="2024-02-08T16:15:31.093" v="702"/>
        <pc:sldMkLst>
          <pc:docMk/>
          <pc:sldMk cId="1520435373" sldId="2147468983"/>
        </pc:sldMkLst>
        <pc:spChg chg="mod">
          <ac:chgData name="Caroline Baker" userId="0fbdd6cc-5ea0-493c-bb40-f2bbc5de54ff" providerId="ADAL" clId="{7A398367-840A-FC48-9A3D-BBB937E4EAB6}" dt="2024-02-07T20:56:27.893" v="150"/>
          <ac:spMkLst>
            <pc:docMk/>
            <pc:sldMk cId="1520435373" sldId="2147468983"/>
            <ac:spMk id="20" creationId="{8BC02F85-542C-62AC-AE9B-960CD2FC3FDC}"/>
          </ac:spMkLst>
        </pc:spChg>
        <pc:spChg chg="mod">
          <ac:chgData name="Caroline Baker" userId="0fbdd6cc-5ea0-493c-bb40-f2bbc5de54ff" providerId="ADAL" clId="{7A398367-840A-FC48-9A3D-BBB937E4EAB6}" dt="2024-02-08T16:15:31.093" v="702"/>
          <ac:spMkLst>
            <pc:docMk/>
            <pc:sldMk cId="1520435373" sldId="2147468983"/>
            <ac:spMk id="742" creationId="{C45ED160-274D-7D5D-6A82-81870E69F4BD}"/>
          </ac:spMkLst>
        </pc:spChg>
        <pc:spChg chg="mod">
          <ac:chgData name="Caroline Baker" userId="0fbdd6cc-5ea0-493c-bb40-f2bbc5de54ff" providerId="ADAL" clId="{7A398367-840A-FC48-9A3D-BBB937E4EAB6}" dt="2024-02-07T20:48:18.215" v="110"/>
          <ac:spMkLst>
            <pc:docMk/>
            <pc:sldMk cId="1520435373" sldId="2147468983"/>
            <ac:spMk id="751" creationId="{3D178A78-CD9B-9B57-381E-6C79E4F668FB}"/>
          </ac:spMkLst>
        </pc:spChg>
      </pc:sldChg>
      <pc:sldChg chg="modSp mod">
        <pc:chgData name="Caroline Baker" userId="0fbdd6cc-5ea0-493c-bb40-f2bbc5de54ff" providerId="ADAL" clId="{7A398367-840A-FC48-9A3D-BBB937E4EAB6}" dt="2024-02-07T21:29:16.148" v="488" actId="20577"/>
        <pc:sldMkLst>
          <pc:docMk/>
          <pc:sldMk cId="1609203668" sldId="2147468985"/>
        </pc:sldMkLst>
        <pc:spChg chg="mod">
          <ac:chgData name="Caroline Baker" userId="0fbdd6cc-5ea0-493c-bb40-f2bbc5de54ff" providerId="ADAL" clId="{7A398367-840A-FC48-9A3D-BBB937E4EAB6}" dt="2024-02-07T18:29:35.270" v="45" actId="313"/>
          <ac:spMkLst>
            <pc:docMk/>
            <pc:sldMk cId="1609203668" sldId="2147468985"/>
            <ac:spMk id="19" creationId="{908584C9-8053-BAF4-2837-F31222763A77}"/>
          </ac:spMkLst>
        </pc:spChg>
        <pc:spChg chg="mod">
          <ac:chgData name="Caroline Baker" userId="0fbdd6cc-5ea0-493c-bb40-f2bbc5de54ff" providerId="ADAL" clId="{7A398367-840A-FC48-9A3D-BBB937E4EAB6}" dt="2024-02-07T21:29:16.148" v="488" actId="20577"/>
          <ac:spMkLst>
            <pc:docMk/>
            <pc:sldMk cId="1609203668" sldId="2147468985"/>
            <ac:spMk id="20" creationId="{8BC02F85-542C-62AC-AE9B-960CD2FC3FDC}"/>
          </ac:spMkLst>
        </pc:spChg>
        <pc:spChg chg="mod">
          <ac:chgData name="Caroline Baker" userId="0fbdd6cc-5ea0-493c-bb40-f2bbc5de54ff" providerId="ADAL" clId="{7A398367-840A-FC48-9A3D-BBB937E4EAB6}" dt="2024-02-07T21:16:08.251" v="294" actId="6549"/>
          <ac:spMkLst>
            <pc:docMk/>
            <pc:sldMk cId="1609203668" sldId="2147468985"/>
            <ac:spMk id="742" creationId="{C45ED160-274D-7D5D-6A82-81870E69F4BD}"/>
          </ac:spMkLst>
        </pc:spChg>
        <pc:spChg chg="mod">
          <ac:chgData name="Caroline Baker" userId="0fbdd6cc-5ea0-493c-bb40-f2bbc5de54ff" providerId="ADAL" clId="{7A398367-840A-FC48-9A3D-BBB937E4EAB6}" dt="2024-02-07T21:16:10.294" v="295" actId="6549"/>
          <ac:spMkLst>
            <pc:docMk/>
            <pc:sldMk cId="1609203668" sldId="2147468985"/>
            <ac:spMk id="747" creationId="{42314759-16C9-2A2E-4382-7C21536611C2}"/>
          </ac:spMkLst>
        </pc:spChg>
        <pc:spChg chg="mod">
          <ac:chgData name="Caroline Baker" userId="0fbdd6cc-5ea0-493c-bb40-f2bbc5de54ff" providerId="ADAL" clId="{7A398367-840A-FC48-9A3D-BBB937E4EAB6}" dt="2024-02-07T20:48:18.215" v="110"/>
          <ac:spMkLst>
            <pc:docMk/>
            <pc:sldMk cId="1609203668" sldId="2147468985"/>
            <ac:spMk id="751" creationId="{3D178A78-CD9B-9B57-381E-6C79E4F668FB}"/>
          </ac:spMkLst>
        </pc:spChg>
      </pc:sldChg>
      <pc:sldChg chg="modSp">
        <pc:chgData name="Caroline Baker" userId="0fbdd6cc-5ea0-493c-bb40-f2bbc5de54ff" providerId="ADAL" clId="{7A398367-840A-FC48-9A3D-BBB937E4EAB6}" dt="2024-02-08T16:15:40.878" v="704"/>
        <pc:sldMkLst>
          <pc:docMk/>
          <pc:sldMk cId="1375069938" sldId="2147468986"/>
        </pc:sldMkLst>
        <pc:spChg chg="mod">
          <ac:chgData name="Caroline Baker" userId="0fbdd6cc-5ea0-493c-bb40-f2bbc5de54ff" providerId="ADAL" clId="{7A398367-840A-FC48-9A3D-BBB937E4EAB6}" dt="2024-02-08T16:15:40.878" v="704"/>
          <ac:spMkLst>
            <pc:docMk/>
            <pc:sldMk cId="1375069938" sldId="2147468986"/>
            <ac:spMk id="742" creationId="{C45ED160-274D-7D5D-6A82-81870E69F4BD}"/>
          </ac:spMkLst>
        </pc:spChg>
        <pc:spChg chg="mod">
          <ac:chgData name="Caroline Baker" userId="0fbdd6cc-5ea0-493c-bb40-f2bbc5de54ff" providerId="ADAL" clId="{7A398367-840A-FC48-9A3D-BBB937E4EAB6}" dt="2024-02-07T20:48:18.215" v="110"/>
          <ac:spMkLst>
            <pc:docMk/>
            <pc:sldMk cId="1375069938" sldId="2147468986"/>
            <ac:spMk id="751" creationId="{3D178A78-CD9B-9B57-381E-6C79E4F668FB}"/>
          </ac:spMkLst>
        </pc:spChg>
      </pc:sldChg>
      <pc:sldChg chg="modSp mod">
        <pc:chgData name="Caroline Baker" userId="0fbdd6cc-5ea0-493c-bb40-f2bbc5de54ff" providerId="ADAL" clId="{7A398367-840A-FC48-9A3D-BBB937E4EAB6}" dt="2024-02-07T21:34:21.977" v="556" actId="20577"/>
        <pc:sldMkLst>
          <pc:docMk/>
          <pc:sldMk cId="2066427225" sldId="2147468987"/>
        </pc:sldMkLst>
        <pc:spChg chg="mod">
          <ac:chgData name="Caroline Baker" userId="0fbdd6cc-5ea0-493c-bb40-f2bbc5de54ff" providerId="ADAL" clId="{7A398367-840A-FC48-9A3D-BBB937E4EAB6}" dt="2024-02-07T21:34:21.977" v="556" actId="20577"/>
          <ac:spMkLst>
            <pc:docMk/>
            <pc:sldMk cId="2066427225" sldId="2147468987"/>
            <ac:spMk id="748" creationId="{52A172F7-40D3-395B-CCC6-FDB8624B34C3}"/>
          </ac:spMkLst>
        </pc:spChg>
        <pc:spChg chg="mod">
          <ac:chgData name="Caroline Baker" userId="0fbdd6cc-5ea0-493c-bb40-f2bbc5de54ff" providerId="ADAL" clId="{7A398367-840A-FC48-9A3D-BBB937E4EAB6}" dt="2024-02-07T20:48:18.215" v="110"/>
          <ac:spMkLst>
            <pc:docMk/>
            <pc:sldMk cId="2066427225" sldId="2147468987"/>
            <ac:spMk id="751" creationId="{3D178A78-CD9B-9B57-381E-6C79E4F668FB}"/>
          </ac:spMkLst>
        </pc:spChg>
      </pc:sldChg>
      <pc:sldChg chg="modSp mod">
        <pc:chgData name="Caroline Baker" userId="0fbdd6cc-5ea0-493c-bb40-f2bbc5de54ff" providerId="ADAL" clId="{7A398367-840A-FC48-9A3D-BBB937E4EAB6}" dt="2024-02-07T21:29:32.001" v="508" actId="1076"/>
        <pc:sldMkLst>
          <pc:docMk/>
          <pc:sldMk cId="2652260640" sldId="2147468988"/>
        </pc:sldMkLst>
        <pc:spChg chg="mod">
          <ac:chgData name="Caroline Baker" userId="0fbdd6cc-5ea0-493c-bb40-f2bbc5de54ff" providerId="ADAL" clId="{7A398367-840A-FC48-9A3D-BBB937E4EAB6}" dt="2024-02-07T21:29:32.001" v="508" actId="1076"/>
          <ac:spMkLst>
            <pc:docMk/>
            <pc:sldMk cId="2652260640" sldId="2147468988"/>
            <ac:spMk id="8" creationId="{ED978AFB-137C-91AC-0778-E7E2C0C60A24}"/>
          </ac:spMkLst>
        </pc:spChg>
        <pc:spChg chg="mod">
          <ac:chgData name="Caroline Baker" userId="0fbdd6cc-5ea0-493c-bb40-f2bbc5de54ff" providerId="ADAL" clId="{7A398367-840A-FC48-9A3D-BBB937E4EAB6}" dt="2024-02-07T20:48:18.215" v="110"/>
          <ac:spMkLst>
            <pc:docMk/>
            <pc:sldMk cId="2652260640" sldId="2147468988"/>
            <ac:spMk id="751" creationId="{3D178A78-CD9B-9B57-381E-6C79E4F668FB}"/>
          </ac:spMkLst>
        </pc:spChg>
      </pc:sldChg>
      <pc:sldChg chg="modSp mod">
        <pc:chgData name="Caroline Baker" userId="0fbdd6cc-5ea0-493c-bb40-f2bbc5de54ff" providerId="ADAL" clId="{7A398367-840A-FC48-9A3D-BBB937E4EAB6}" dt="2024-02-07T21:36:50.762" v="559" actId="6549"/>
        <pc:sldMkLst>
          <pc:docMk/>
          <pc:sldMk cId="2857694139" sldId="2147468990"/>
        </pc:sldMkLst>
        <pc:spChg chg="mod">
          <ac:chgData name="Caroline Baker" userId="0fbdd6cc-5ea0-493c-bb40-f2bbc5de54ff" providerId="ADAL" clId="{7A398367-840A-FC48-9A3D-BBB937E4EAB6}" dt="2024-02-07T18:31:10.713" v="58" actId="20577"/>
          <ac:spMkLst>
            <pc:docMk/>
            <pc:sldMk cId="2857694139" sldId="2147468990"/>
            <ac:spMk id="19" creationId="{908584C9-8053-BAF4-2837-F31222763A77}"/>
          </ac:spMkLst>
        </pc:spChg>
        <pc:spChg chg="mod">
          <ac:chgData name="Caroline Baker" userId="0fbdd6cc-5ea0-493c-bb40-f2bbc5de54ff" providerId="ADAL" clId="{7A398367-840A-FC48-9A3D-BBB937E4EAB6}" dt="2024-02-07T20:56:27.893" v="150"/>
          <ac:spMkLst>
            <pc:docMk/>
            <pc:sldMk cId="2857694139" sldId="2147468990"/>
            <ac:spMk id="20" creationId="{8BC02F85-542C-62AC-AE9B-960CD2FC3FDC}"/>
          </ac:spMkLst>
        </pc:spChg>
        <pc:spChg chg="mod">
          <ac:chgData name="Caroline Baker" userId="0fbdd6cc-5ea0-493c-bb40-f2bbc5de54ff" providerId="ADAL" clId="{7A398367-840A-FC48-9A3D-BBB937E4EAB6}" dt="2024-02-07T18:31:09.150" v="56" actId="20577"/>
          <ac:spMkLst>
            <pc:docMk/>
            <pc:sldMk cId="2857694139" sldId="2147468990"/>
            <ac:spMk id="742" creationId="{C45ED160-274D-7D5D-6A82-81870E69F4BD}"/>
          </ac:spMkLst>
        </pc:spChg>
        <pc:spChg chg="mod">
          <ac:chgData name="Caroline Baker" userId="0fbdd6cc-5ea0-493c-bb40-f2bbc5de54ff" providerId="ADAL" clId="{7A398367-840A-FC48-9A3D-BBB937E4EAB6}" dt="2024-02-07T21:36:46.135" v="558" actId="20577"/>
          <ac:spMkLst>
            <pc:docMk/>
            <pc:sldMk cId="2857694139" sldId="2147468990"/>
            <ac:spMk id="747" creationId="{42314759-16C9-2A2E-4382-7C21536611C2}"/>
          </ac:spMkLst>
        </pc:spChg>
        <pc:spChg chg="mod">
          <ac:chgData name="Caroline Baker" userId="0fbdd6cc-5ea0-493c-bb40-f2bbc5de54ff" providerId="ADAL" clId="{7A398367-840A-FC48-9A3D-BBB937E4EAB6}" dt="2024-02-07T21:36:50.762" v="559" actId="6549"/>
          <ac:spMkLst>
            <pc:docMk/>
            <pc:sldMk cId="2857694139" sldId="2147468990"/>
            <ac:spMk id="748" creationId="{52A172F7-40D3-395B-CCC6-FDB8624B34C3}"/>
          </ac:spMkLst>
        </pc:spChg>
        <pc:spChg chg="mod">
          <ac:chgData name="Caroline Baker" userId="0fbdd6cc-5ea0-493c-bb40-f2bbc5de54ff" providerId="ADAL" clId="{7A398367-840A-FC48-9A3D-BBB937E4EAB6}" dt="2024-02-07T20:48:18.215" v="110"/>
          <ac:spMkLst>
            <pc:docMk/>
            <pc:sldMk cId="2857694139" sldId="2147468990"/>
            <ac:spMk id="751" creationId="{3D178A78-CD9B-9B57-381E-6C79E4F668FB}"/>
          </ac:spMkLst>
        </pc:spChg>
      </pc:sldChg>
      <pc:sldChg chg="modSp">
        <pc:chgData name="Caroline Baker" userId="0fbdd6cc-5ea0-493c-bb40-f2bbc5de54ff" providerId="ADAL" clId="{7A398367-840A-FC48-9A3D-BBB937E4EAB6}" dt="2024-02-08T15:56:53.460" v="585"/>
        <pc:sldMkLst>
          <pc:docMk/>
          <pc:sldMk cId="3255006054" sldId="2147468991"/>
        </pc:sldMkLst>
        <pc:spChg chg="mod">
          <ac:chgData name="Caroline Baker" userId="0fbdd6cc-5ea0-493c-bb40-f2bbc5de54ff" providerId="ADAL" clId="{7A398367-840A-FC48-9A3D-BBB937E4EAB6}" dt="2024-02-07T18:25:31.226" v="5"/>
          <ac:spMkLst>
            <pc:docMk/>
            <pc:sldMk cId="3255006054" sldId="2147468991"/>
            <ac:spMk id="20" creationId="{8BC02F85-542C-62AC-AE9B-960CD2FC3FDC}"/>
          </ac:spMkLst>
        </pc:spChg>
        <pc:spChg chg="mod">
          <ac:chgData name="Caroline Baker" userId="0fbdd6cc-5ea0-493c-bb40-f2bbc5de54ff" providerId="ADAL" clId="{7A398367-840A-FC48-9A3D-BBB937E4EAB6}" dt="2024-02-08T15:56:53.460" v="585"/>
          <ac:spMkLst>
            <pc:docMk/>
            <pc:sldMk cId="3255006054" sldId="2147468991"/>
            <ac:spMk id="742" creationId="{C45ED160-274D-7D5D-6A82-81870E69F4BD}"/>
          </ac:spMkLst>
        </pc:spChg>
        <pc:spChg chg="mod">
          <ac:chgData name="Caroline Baker" userId="0fbdd6cc-5ea0-493c-bb40-f2bbc5de54ff" providerId="ADAL" clId="{7A398367-840A-FC48-9A3D-BBB937E4EAB6}" dt="2024-02-07T20:48:18.215" v="110"/>
          <ac:spMkLst>
            <pc:docMk/>
            <pc:sldMk cId="3255006054" sldId="2147468991"/>
            <ac:spMk id="751" creationId="{3D178A78-CD9B-9B57-381E-6C79E4F668FB}"/>
          </ac:spMkLst>
        </pc:spChg>
      </pc:sldChg>
      <pc:sldChg chg="modSp mod">
        <pc:chgData name="Caroline Baker" userId="0fbdd6cc-5ea0-493c-bb40-f2bbc5de54ff" providerId="ADAL" clId="{7A398367-840A-FC48-9A3D-BBB937E4EAB6}" dt="2024-02-07T20:48:18.215" v="110"/>
        <pc:sldMkLst>
          <pc:docMk/>
          <pc:sldMk cId="752426780" sldId="2147468992"/>
        </pc:sldMkLst>
        <pc:spChg chg="mod">
          <ac:chgData name="Caroline Baker" userId="0fbdd6cc-5ea0-493c-bb40-f2bbc5de54ff" providerId="ADAL" clId="{7A398367-840A-FC48-9A3D-BBB937E4EAB6}" dt="2024-02-07T20:45:28.698" v="84" actId="20577"/>
          <ac:spMkLst>
            <pc:docMk/>
            <pc:sldMk cId="752426780" sldId="2147468992"/>
            <ac:spMk id="742" creationId="{C45ED160-274D-7D5D-6A82-81870E69F4BD}"/>
          </ac:spMkLst>
        </pc:spChg>
        <pc:spChg chg="mod">
          <ac:chgData name="Caroline Baker" userId="0fbdd6cc-5ea0-493c-bb40-f2bbc5de54ff" providerId="ADAL" clId="{7A398367-840A-FC48-9A3D-BBB937E4EAB6}" dt="2024-02-07T18:25:43.135" v="8" actId="2"/>
          <ac:spMkLst>
            <pc:docMk/>
            <pc:sldMk cId="752426780" sldId="2147468992"/>
            <ac:spMk id="748" creationId="{52A172F7-40D3-395B-CCC6-FDB8624B34C3}"/>
          </ac:spMkLst>
        </pc:spChg>
        <pc:spChg chg="mod">
          <ac:chgData name="Caroline Baker" userId="0fbdd6cc-5ea0-493c-bb40-f2bbc5de54ff" providerId="ADAL" clId="{7A398367-840A-FC48-9A3D-BBB937E4EAB6}" dt="2024-02-07T20:48:18.215" v="110"/>
          <ac:spMkLst>
            <pc:docMk/>
            <pc:sldMk cId="752426780" sldId="2147468992"/>
            <ac:spMk id="751" creationId="{3D178A78-CD9B-9B57-381E-6C79E4F668FB}"/>
          </ac:spMkLst>
        </pc:spChg>
      </pc:sldChg>
      <pc:sldChg chg="modSp mod">
        <pc:chgData name="Caroline Baker" userId="0fbdd6cc-5ea0-493c-bb40-f2bbc5de54ff" providerId="ADAL" clId="{7A398367-840A-FC48-9A3D-BBB937E4EAB6}" dt="2024-02-08T16:16:04.313" v="705" actId="20577"/>
        <pc:sldMkLst>
          <pc:docMk/>
          <pc:sldMk cId="4134371134" sldId="2147468993"/>
        </pc:sldMkLst>
        <pc:spChg chg="mod">
          <ac:chgData name="Caroline Baker" userId="0fbdd6cc-5ea0-493c-bb40-f2bbc5de54ff" providerId="ADAL" clId="{7A398367-840A-FC48-9A3D-BBB937E4EAB6}" dt="2024-02-08T16:16:04.313" v="705" actId="20577"/>
          <ac:spMkLst>
            <pc:docMk/>
            <pc:sldMk cId="4134371134" sldId="2147468993"/>
            <ac:spMk id="19" creationId="{908584C9-8053-BAF4-2837-F31222763A77}"/>
          </ac:spMkLst>
        </pc:spChg>
      </pc:sldChg>
      <pc:sldChg chg="modSp mod">
        <pc:chgData name="Caroline Baker" userId="0fbdd6cc-5ea0-493c-bb40-f2bbc5de54ff" providerId="ADAL" clId="{7A398367-840A-FC48-9A3D-BBB937E4EAB6}" dt="2024-02-08T16:14:05.955" v="684"/>
        <pc:sldMkLst>
          <pc:docMk/>
          <pc:sldMk cId="1153717832" sldId="2147468994"/>
        </pc:sldMkLst>
        <pc:spChg chg="mod">
          <ac:chgData name="Caroline Baker" userId="0fbdd6cc-5ea0-493c-bb40-f2bbc5de54ff" providerId="ADAL" clId="{7A398367-840A-FC48-9A3D-BBB937E4EAB6}" dt="2024-02-08T16:14:05.955" v="684"/>
          <ac:spMkLst>
            <pc:docMk/>
            <pc:sldMk cId="1153717832" sldId="2147468994"/>
            <ac:spMk id="742" creationId="{C45ED160-274D-7D5D-6A82-81870E69F4BD}"/>
          </ac:spMkLst>
        </pc:spChg>
        <pc:spChg chg="mod">
          <ac:chgData name="Caroline Baker" userId="0fbdd6cc-5ea0-493c-bb40-f2bbc5de54ff" providerId="ADAL" clId="{7A398367-840A-FC48-9A3D-BBB937E4EAB6}" dt="2024-02-07T21:37:15.951" v="561" actId="20577"/>
          <ac:spMkLst>
            <pc:docMk/>
            <pc:sldMk cId="1153717832" sldId="2147468994"/>
            <ac:spMk id="747" creationId="{42314759-16C9-2A2E-4382-7C21536611C2}"/>
          </ac:spMkLst>
        </pc:spChg>
        <pc:spChg chg="mod">
          <ac:chgData name="Caroline Baker" userId="0fbdd6cc-5ea0-493c-bb40-f2bbc5de54ff" providerId="ADAL" clId="{7A398367-840A-FC48-9A3D-BBB937E4EAB6}" dt="2024-02-07T21:29:40.434" v="512" actId="6549"/>
          <ac:spMkLst>
            <pc:docMk/>
            <pc:sldMk cId="1153717832" sldId="2147468994"/>
            <ac:spMk id="748" creationId="{52A172F7-40D3-395B-CCC6-FDB8624B34C3}"/>
          </ac:spMkLst>
        </pc:spChg>
        <pc:spChg chg="mod">
          <ac:chgData name="Caroline Baker" userId="0fbdd6cc-5ea0-493c-bb40-f2bbc5de54ff" providerId="ADAL" clId="{7A398367-840A-FC48-9A3D-BBB937E4EAB6}" dt="2024-02-07T20:48:18.215" v="110"/>
          <ac:spMkLst>
            <pc:docMk/>
            <pc:sldMk cId="1153717832" sldId="2147468994"/>
            <ac:spMk id="751" creationId="{3D178A78-CD9B-9B57-381E-6C79E4F668FB}"/>
          </ac:spMkLst>
        </pc:spChg>
      </pc:sldChg>
      <pc:sldChg chg="modSp">
        <pc:chgData name="Caroline Baker" userId="0fbdd6cc-5ea0-493c-bb40-f2bbc5de54ff" providerId="ADAL" clId="{7A398367-840A-FC48-9A3D-BBB937E4EAB6}" dt="2024-02-08T16:03:22.894" v="623"/>
        <pc:sldMkLst>
          <pc:docMk/>
          <pc:sldMk cId="3175367882" sldId="2147468995"/>
        </pc:sldMkLst>
        <pc:spChg chg="mod">
          <ac:chgData name="Caroline Baker" userId="0fbdd6cc-5ea0-493c-bb40-f2bbc5de54ff" providerId="ADAL" clId="{7A398367-840A-FC48-9A3D-BBB937E4EAB6}" dt="2024-02-08T16:03:22.894" v="623"/>
          <ac:spMkLst>
            <pc:docMk/>
            <pc:sldMk cId="3175367882" sldId="2147468995"/>
            <ac:spMk id="742" creationId="{C45ED160-274D-7D5D-6A82-81870E69F4BD}"/>
          </ac:spMkLst>
        </pc:spChg>
        <pc:spChg chg="mod">
          <ac:chgData name="Caroline Baker" userId="0fbdd6cc-5ea0-493c-bb40-f2bbc5de54ff" providerId="ADAL" clId="{7A398367-840A-FC48-9A3D-BBB937E4EAB6}" dt="2024-02-07T20:48:18.215" v="110"/>
          <ac:spMkLst>
            <pc:docMk/>
            <pc:sldMk cId="3175367882" sldId="2147468995"/>
            <ac:spMk id="751" creationId="{3D178A78-CD9B-9B57-381E-6C79E4F668FB}"/>
          </ac:spMkLst>
        </pc:spChg>
      </pc:sldChg>
      <pc:sldChg chg="modSp mod">
        <pc:chgData name="Caroline Baker" userId="0fbdd6cc-5ea0-493c-bb40-f2bbc5de54ff" providerId="ADAL" clId="{7A398367-840A-FC48-9A3D-BBB937E4EAB6}" dt="2024-02-08T16:02:30.853" v="612"/>
        <pc:sldMkLst>
          <pc:docMk/>
          <pc:sldMk cId="769725692" sldId="2147468996"/>
        </pc:sldMkLst>
        <pc:spChg chg="mod">
          <ac:chgData name="Caroline Baker" userId="0fbdd6cc-5ea0-493c-bb40-f2bbc5de54ff" providerId="ADAL" clId="{7A398367-840A-FC48-9A3D-BBB937E4EAB6}" dt="2024-02-08T16:02:30.853" v="612"/>
          <ac:spMkLst>
            <pc:docMk/>
            <pc:sldMk cId="769725692" sldId="2147468996"/>
            <ac:spMk id="742" creationId="{C45ED160-274D-7D5D-6A82-81870E69F4BD}"/>
          </ac:spMkLst>
        </pc:spChg>
        <pc:spChg chg="mod">
          <ac:chgData name="Caroline Baker" userId="0fbdd6cc-5ea0-493c-bb40-f2bbc5de54ff" providerId="ADAL" clId="{7A398367-840A-FC48-9A3D-BBB937E4EAB6}" dt="2024-02-07T21:29:01.289" v="472" actId="20577"/>
          <ac:spMkLst>
            <pc:docMk/>
            <pc:sldMk cId="769725692" sldId="2147468996"/>
            <ac:spMk id="748" creationId="{52A172F7-40D3-395B-CCC6-FDB8624B34C3}"/>
          </ac:spMkLst>
        </pc:spChg>
        <pc:spChg chg="mod">
          <ac:chgData name="Caroline Baker" userId="0fbdd6cc-5ea0-493c-bb40-f2bbc5de54ff" providerId="ADAL" clId="{7A398367-840A-FC48-9A3D-BBB937E4EAB6}" dt="2024-02-07T21:02:16.958" v="190" actId="20577"/>
          <ac:spMkLst>
            <pc:docMk/>
            <pc:sldMk cId="769725692" sldId="2147468996"/>
            <ac:spMk id="749" creationId="{A50E6FED-D952-EBCF-AAC5-BD6B2EFDC8C8}"/>
          </ac:spMkLst>
        </pc:spChg>
        <pc:spChg chg="mod">
          <ac:chgData name="Caroline Baker" userId="0fbdd6cc-5ea0-493c-bb40-f2bbc5de54ff" providerId="ADAL" clId="{7A398367-840A-FC48-9A3D-BBB937E4EAB6}" dt="2024-02-07T20:48:18.215" v="110"/>
          <ac:spMkLst>
            <pc:docMk/>
            <pc:sldMk cId="769725692" sldId="2147468996"/>
            <ac:spMk id="751" creationId="{3D178A78-CD9B-9B57-381E-6C79E4F668FB}"/>
          </ac:spMkLst>
        </pc:spChg>
      </pc:sldChg>
      <pc:sldChg chg="modSp mod">
        <pc:chgData name="Caroline Baker" userId="0fbdd6cc-5ea0-493c-bb40-f2bbc5de54ff" providerId="ADAL" clId="{7A398367-840A-FC48-9A3D-BBB937E4EAB6}" dt="2024-02-08T16:13:14.256" v="678"/>
        <pc:sldMkLst>
          <pc:docMk/>
          <pc:sldMk cId="950228836" sldId="2147468997"/>
        </pc:sldMkLst>
        <pc:spChg chg="mod">
          <ac:chgData name="Caroline Baker" userId="0fbdd6cc-5ea0-493c-bb40-f2bbc5de54ff" providerId="ADAL" clId="{7A398367-840A-FC48-9A3D-BBB937E4EAB6}" dt="2024-02-07T21:31:46.035" v="517" actId="1076"/>
          <ac:spMkLst>
            <pc:docMk/>
            <pc:sldMk cId="950228836" sldId="2147468997"/>
            <ac:spMk id="20" creationId="{8BC02F85-542C-62AC-AE9B-960CD2FC3FDC}"/>
          </ac:spMkLst>
        </pc:spChg>
        <pc:spChg chg="mod">
          <ac:chgData name="Caroline Baker" userId="0fbdd6cc-5ea0-493c-bb40-f2bbc5de54ff" providerId="ADAL" clId="{7A398367-840A-FC48-9A3D-BBB937E4EAB6}" dt="2024-02-08T16:13:14.256" v="678"/>
          <ac:spMkLst>
            <pc:docMk/>
            <pc:sldMk cId="950228836" sldId="2147468997"/>
            <ac:spMk id="742" creationId="{C45ED160-274D-7D5D-6A82-81870E69F4BD}"/>
          </ac:spMkLst>
        </pc:spChg>
        <pc:spChg chg="mod">
          <ac:chgData name="Caroline Baker" userId="0fbdd6cc-5ea0-493c-bb40-f2bbc5de54ff" providerId="ADAL" clId="{7A398367-840A-FC48-9A3D-BBB937E4EAB6}" dt="2024-02-07T21:31:56.158" v="523" actId="20577"/>
          <ac:spMkLst>
            <pc:docMk/>
            <pc:sldMk cId="950228836" sldId="2147468997"/>
            <ac:spMk id="747" creationId="{42314759-16C9-2A2E-4382-7C21536611C2}"/>
          </ac:spMkLst>
        </pc:spChg>
        <pc:spChg chg="mod">
          <ac:chgData name="Caroline Baker" userId="0fbdd6cc-5ea0-493c-bb40-f2bbc5de54ff" providerId="ADAL" clId="{7A398367-840A-FC48-9A3D-BBB937E4EAB6}" dt="2024-02-07T21:32:04.944" v="526" actId="20577"/>
          <ac:spMkLst>
            <pc:docMk/>
            <pc:sldMk cId="950228836" sldId="2147468997"/>
            <ac:spMk id="748" creationId="{52A172F7-40D3-395B-CCC6-FDB8624B34C3}"/>
          </ac:spMkLst>
        </pc:spChg>
        <pc:spChg chg="mod">
          <ac:chgData name="Caroline Baker" userId="0fbdd6cc-5ea0-493c-bb40-f2bbc5de54ff" providerId="ADAL" clId="{7A398367-840A-FC48-9A3D-BBB937E4EAB6}" dt="2024-02-07T20:48:18.215" v="110"/>
          <ac:spMkLst>
            <pc:docMk/>
            <pc:sldMk cId="950228836" sldId="2147468997"/>
            <ac:spMk id="751" creationId="{3D178A78-CD9B-9B57-381E-6C79E4F668FB}"/>
          </ac:spMkLst>
        </pc:spChg>
      </pc:sldChg>
      <pc:sldChg chg="modSp delCm modCm">
        <pc:chgData name="Caroline Baker" userId="0fbdd6cc-5ea0-493c-bb40-f2bbc5de54ff" providerId="ADAL" clId="{7A398367-840A-FC48-9A3D-BBB937E4EAB6}" dt="2024-02-07T21:03:58.640" v="215"/>
        <pc:sldMkLst>
          <pc:docMk/>
          <pc:sldMk cId="3191878711" sldId="2147468998"/>
        </pc:sldMkLst>
        <pc:spChg chg="mod">
          <ac:chgData name="Caroline Baker" userId="0fbdd6cc-5ea0-493c-bb40-f2bbc5de54ff" providerId="ADAL" clId="{7A398367-840A-FC48-9A3D-BBB937E4EAB6}" dt="2024-02-07T20:48:18.215" v="110"/>
          <ac:spMkLst>
            <pc:docMk/>
            <pc:sldMk cId="3191878711" sldId="2147468998"/>
            <ac:spMk id="751" creationId="{3D178A78-CD9B-9B57-381E-6C79E4F668FB}"/>
          </ac:spMkLst>
        </pc:spChg>
        <pc:extLst>
          <p:ext xmlns:p="http://schemas.openxmlformats.org/presentationml/2006/main" uri="{D6D511B9-2390-475A-947B-AFAB55BFBCF1}">
            <pc226:cmChg xmlns:pc226="http://schemas.microsoft.com/office/powerpoint/2022/06/main/command" chg="del mod">
              <pc226:chgData name="Caroline Baker" userId="0fbdd6cc-5ea0-493c-bb40-f2bbc5de54ff" providerId="ADAL" clId="{7A398367-840A-FC48-9A3D-BBB937E4EAB6}" dt="2024-02-07T21:03:58.640" v="215"/>
              <pc2:cmMkLst xmlns:pc2="http://schemas.microsoft.com/office/powerpoint/2019/9/main/command">
                <pc:docMk/>
                <pc:sldMk cId="3191878711" sldId="2147468998"/>
                <pc2:cmMk id="{75435C4D-D4BA-4C20-80AB-D1C6369D8B74}"/>
              </pc2:cmMkLst>
            </pc226:cmChg>
          </p:ext>
        </pc:extLst>
      </pc:sldChg>
      <pc:sldChg chg="delCm modCm">
        <pc:chgData name="Caroline Baker" userId="0fbdd6cc-5ea0-493c-bb40-f2bbc5de54ff" providerId="ADAL" clId="{7A398367-840A-FC48-9A3D-BBB937E4EAB6}" dt="2024-02-08T16:15:02.624" v="695" actId="2056"/>
        <pc:sldMkLst>
          <pc:docMk/>
          <pc:sldMk cId="2121165865" sldId="2147468999"/>
        </pc:sldMkLst>
        <pc:extLst>
          <p:ext xmlns:p="http://schemas.openxmlformats.org/presentationml/2006/main" uri="{D6D511B9-2390-475A-947B-AFAB55BFBCF1}">
            <pc226:cmChg xmlns:pc226="http://schemas.microsoft.com/office/powerpoint/2022/06/main/command" chg="mod">
              <pc226:chgData name="Caroline Baker" userId="0fbdd6cc-5ea0-493c-bb40-f2bbc5de54ff" providerId="ADAL" clId="{7A398367-840A-FC48-9A3D-BBB937E4EAB6}" dt="2024-02-08T16:15:02.624" v="695" actId="2056"/>
              <pc2:cmMkLst xmlns:pc2="http://schemas.microsoft.com/office/powerpoint/2019/9/main/command">
                <pc:docMk/>
                <pc:sldMk cId="2121165865" sldId="2147468999"/>
                <pc2:cmMk id="{F4A4A31F-A46E-0742-9FF3-536C822BC07D}"/>
              </pc2:cmMkLst>
            </pc226:cmChg>
            <pc226:cmChg xmlns:pc226="http://schemas.microsoft.com/office/powerpoint/2022/06/main/command" chg="del">
              <pc226:chgData name="Caroline Baker" userId="0fbdd6cc-5ea0-493c-bb40-f2bbc5de54ff" providerId="ADAL" clId="{7A398367-840A-FC48-9A3D-BBB937E4EAB6}" dt="2024-02-07T18:25:04.677" v="0"/>
              <pc2:cmMkLst xmlns:pc2="http://schemas.microsoft.com/office/powerpoint/2019/9/main/command">
                <pc:docMk/>
                <pc:sldMk cId="2121165865" sldId="2147468999"/>
                <pc2:cmMk id="{D84216FB-A0A4-427C-A91A-5B3CC178E2F5}"/>
              </pc2:cmMkLst>
            </pc226:cmChg>
          </p:ext>
        </pc:extLst>
      </pc:sldChg>
      <pc:sldChg chg="modSp mod">
        <pc:chgData name="Caroline Baker" userId="0fbdd6cc-5ea0-493c-bb40-f2bbc5de54ff" providerId="ADAL" clId="{7A398367-840A-FC48-9A3D-BBB937E4EAB6}" dt="2024-02-07T18:32:42.249" v="73" actId="20577"/>
        <pc:sldMkLst>
          <pc:docMk/>
          <pc:sldMk cId="2279469819" sldId="2147469005"/>
        </pc:sldMkLst>
        <pc:spChg chg="mod">
          <ac:chgData name="Caroline Baker" userId="0fbdd6cc-5ea0-493c-bb40-f2bbc5de54ff" providerId="ADAL" clId="{7A398367-840A-FC48-9A3D-BBB937E4EAB6}" dt="2024-02-07T18:32:42.249" v="73" actId="20577"/>
          <ac:spMkLst>
            <pc:docMk/>
            <pc:sldMk cId="2279469819" sldId="2147469005"/>
            <ac:spMk id="2" creationId="{DAD2E065-61E7-5CF0-BB06-7D6EA5466D87}"/>
          </ac:spMkLst>
        </pc:spChg>
      </pc:sldChg>
      <pc:sldChg chg="modSp mod">
        <pc:chgData name="Caroline Baker" userId="0fbdd6cc-5ea0-493c-bb40-f2bbc5de54ff" providerId="ADAL" clId="{7A398367-840A-FC48-9A3D-BBB937E4EAB6}" dt="2024-02-08T15:56:14.788" v="583"/>
        <pc:sldMkLst>
          <pc:docMk/>
          <pc:sldMk cId="2726029552" sldId="2147469022"/>
        </pc:sldMkLst>
        <pc:spChg chg="mod">
          <ac:chgData name="Caroline Baker" userId="0fbdd6cc-5ea0-493c-bb40-f2bbc5de54ff" providerId="ADAL" clId="{7A398367-840A-FC48-9A3D-BBB937E4EAB6}" dt="2024-02-08T15:56:14.788" v="583"/>
          <ac:spMkLst>
            <pc:docMk/>
            <pc:sldMk cId="2726029552" sldId="2147469022"/>
            <ac:spMk id="2" creationId="{4F55D46F-6C55-38A2-28FF-D58D4A632C16}"/>
          </ac:spMkLst>
        </pc:spChg>
        <pc:spChg chg="mod">
          <ac:chgData name="Caroline Baker" userId="0fbdd6cc-5ea0-493c-bb40-f2bbc5de54ff" providerId="ADAL" clId="{7A398367-840A-FC48-9A3D-BBB937E4EAB6}" dt="2024-02-07T18:32:31.344" v="71" actId="20577"/>
          <ac:spMkLst>
            <pc:docMk/>
            <pc:sldMk cId="2726029552" sldId="2147469022"/>
            <ac:spMk id="3" creationId="{F98D152F-E39A-2840-312A-27B040ECCDA4}"/>
          </ac:spMkLst>
        </pc:spChg>
      </pc:sldChg>
      <pc:sldMasterChg chg="modSp mod modSldLayout">
        <pc:chgData name="Caroline Baker" userId="0fbdd6cc-5ea0-493c-bb40-f2bbc5de54ff" providerId="ADAL" clId="{7A398367-840A-FC48-9A3D-BBB937E4EAB6}" dt="2024-02-07T18:25:18.662" v="4" actId="20577"/>
        <pc:sldMasterMkLst>
          <pc:docMk/>
          <pc:sldMasterMk cId="377813297" sldId="2147483851"/>
        </pc:sldMasterMkLst>
        <pc:spChg chg="mod">
          <ac:chgData name="Caroline Baker" userId="0fbdd6cc-5ea0-493c-bb40-f2bbc5de54ff" providerId="ADAL" clId="{7A398367-840A-FC48-9A3D-BBB937E4EAB6}" dt="2024-02-07T18:25:18.662" v="4" actId="20577"/>
          <ac:spMkLst>
            <pc:docMk/>
            <pc:sldMasterMk cId="377813297" sldId="2147483851"/>
            <ac:spMk id="14" creationId="{4C02A410-1807-488C-9458-4CFAF1E4E8F0}"/>
          </ac:spMkLst>
        </pc:spChg>
        <pc:sldLayoutChg chg="modSp mod">
          <pc:chgData name="Caroline Baker" userId="0fbdd6cc-5ea0-493c-bb40-f2bbc5de54ff" providerId="ADAL" clId="{7A398367-840A-FC48-9A3D-BBB937E4EAB6}" dt="2024-02-07T18:25:15.891" v="2" actId="20577"/>
          <pc:sldLayoutMkLst>
            <pc:docMk/>
            <pc:sldMasterMk cId="377813297" sldId="2147483851"/>
            <pc:sldLayoutMk cId="1909068755" sldId="2147483929"/>
          </pc:sldLayoutMkLst>
          <pc:spChg chg="mod">
            <ac:chgData name="Caroline Baker" userId="0fbdd6cc-5ea0-493c-bb40-f2bbc5de54ff" providerId="ADAL" clId="{7A398367-840A-FC48-9A3D-BBB937E4EAB6}" dt="2024-02-07T18:25:15.891" v="2" actId="20577"/>
            <ac:spMkLst>
              <pc:docMk/>
              <pc:sldMasterMk cId="377813297" sldId="2147483851"/>
              <pc:sldLayoutMk cId="1909068755" sldId="2147483929"/>
              <ac:spMk id="14" creationId="{BB93A754-CF98-4BEB-BE89-ADF1CF77AA4F}"/>
            </ac:spMkLst>
          </pc:spChg>
        </pc:sldLayoutChg>
      </pc:sldMasterChg>
    </pc:docChg>
  </pc:docChgLst>
  <pc:docChgLst>
    <pc:chgData name="Rita L. Sallam" userId="S::rita.sallam@gartner.com::27fa2d08-926d-4e54-a61c-5bf959504366" providerId="AD" clId="Web-{61A26943-8698-5F97-0377-2590B2DC2A73}"/>
    <pc:docChg chg="modSld sldOrd">
      <pc:chgData name="Rita L. Sallam" userId="S::rita.sallam@gartner.com::27fa2d08-926d-4e54-a61c-5bf959504366" providerId="AD" clId="Web-{61A26943-8698-5F97-0377-2590B2DC2A73}" dt="2024-01-30T23:23:00.203" v="31" actId="20577"/>
      <pc:docMkLst>
        <pc:docMk/>
      </pc:docMkLst>
      <pc:sldChg chg="modSp">
        <pc:chgData name="Rita L. Sallam" userId="S::rita.sallam@gartner.com::27fa2d08-926d-4e54-a61c-5bf959504366" providerId="AD" clId="Web-{61A26943-8698-5F97-0377-2590B2DC2A73}" dt="2024-01-30T23:18:31.569" v="1" actId="20577"/>
        <pc:sldMkLst>
          <pc:docMk/>
          <pc:sldMk cId="1153436385" sldId="2147468902"/>
        </pc:sldMkLst>
        <pc:spChg chg="mod">
          <ac:chgData name="Rita L. Sallam" userId="S::rita.sallam@gartner.com::27fa2d08-926d-4e54-a61c-5bf959504366" providerId="AD" clId="Web-{61A26943-8698-5F97-0377-2590B2DC2A73}" dt="2024-01-30T23:18:31.569" v="1" actId="20577"/>
          <ac:spMkLst>
            <pc:docMk/>
            <pc:sldMk cId="1153436385" sldId="2147468902"/>
            <ac:spMk id="742" creationId="{C45ED160-274D-7D5D-6A82-81870E69F4BD}"/>
          </ac:spMkLst>
        </pc:spChg>
      </pc:sldChg>
      <pc:sldChg chg="modSp ord">
        <pc:chgData name="Rita L. Sallam" userId="S::rita.sallam@gartner.com::27fa2d08-926d-4e54-a61c-5bf959504366" providerId="AD" clId="Web-{61A26943-8698-5F97-0377-2590B2DC2A73}" dt="2024-01-30T23:23:00.203" v="31" actId="20577"/>
        <pc:sldMkLst>
          <pc:docMk/>
          <pc:sldMk cId="3889839420" sldId="2147468960"/>
        </pc:sldMkLst>
        <pc:spChg chg="mod">
          <ac:chgData name="Rita L. Sallam" userId="S::rita.sallam@gartner.com::27fa2d08-926d-4e54-a61c-5bf959504366" providerId="AD" clId="Web-{61A26943-8698-5F97-0377-2590B2DC2A73}" dt="2024-01-30T23:20:59.527" v="23" actId="20577"/>
          <ac:spMkLst>
            <pc:docMk/>
            <pc:sldMk cId="3889839420" sldId="2147468960"/>
            <ac:spMk id="5" creationId="{A8C94439-AB1F-C277-A8E0-41468A768E62}"/>
          </ac:spMkLst>
        </pc:spChg>
        <pc:spChg chg="mod">
          <ac:chgData name="Rita L. Sallam" userId="S::rita.sallam@gartner.com::27fa2d08-926d-4e54-a61c-5bf959504366" providerId="AD" clId="Web-{61A26943-8698-5F97-0377-2590B2DC2A73}" dt="2024-01-30T23:21:03.809" v="24" actId="20577"/>
          <ac:spMkLst>
            <pc:docMk/>
            <pc:sldMk cId="3889839420" sldId="2147468960"/>
            <ac:spMk id="9" creationId="{655A6175-6E74-01BE-C97E-280A846753DD}"/>
          </ac:spMkLst>
        </pc:spChg>
        <pc:spChg chg="mod">
          <ac:chgData name="Rita L. Sallam" userId="S::rita.sallam@gartner.com::27fa2d08-926d-4e54-a61c-5bf959504366" providerId="AD" clId="Web-{61A26943-8698-5F97-0377-2590B2DC2A73}" dt="2024-01-30T23:23:00.203" v="31" actId="20577"/>
          <ac:spMkLst>
            <pc:docMk/>
            <pc:sldMk cId="3889839420" sldId="2147468960"/>
            <ac:spMk id="11" creationId="{707C5A75-ED52-D606-7AC4-959202D8012F}"/>
          </ac:spMkLst>
        </pc:spChg>
        <pc:spChg chg="mod">
          <ac:chgData name="Rita L. Sallam" userId="S::rita.sallam@gartner.com::27fa2d08-926d-4e54-a61c-5bf959504366" providerId="AD" clId="Web-{61A26943-8698-5F97-0377-2590B2DC2A73}" dt="2024-01-30T23:21:26.137" v="29" actId="20577"/>
          <ac:spMkLst>
            <pc:docMk/>
            <pc:sldMk cId="3889839420" sldId="2147468960"/>
            <ac:spMk id="13" creationId="{A55D2298-5195-C0E4-B136-A0B1A68F1344}"/>
          </ac:spMkLst>
        </pc:spChg>
        <pc:spChg chg="mod">
          <ac:chgData name="Rita L. Sallam" userId="S::rita.sallam@gartner.com::27fa2d08-926d-4e54-a61c-5bf959504366" providerId="AD" clId="Web-{61A26943-8698-5F97-0377-2590B2DC2A73}" dt="2024-01-30T23:19:34.462" v="20" actId="14100"/>
          <ac:spMkLst>
            <pc:docMk/>
            <pc:sldMk cId="3889839420" sldId="2147468960"/>
            <ac:spMk id="15" creationId="{DD5C42FC-01A6-00D3-3C1C-73121292E5D1}"/>
          </ac:spMkLst>
        </pc:spChg>
        <pc:spChg chg="mod">
          <ac:chgData name="Rita L. Sallam" userId="S::rita.sallam@gartner.com::27fa2d08-926d-4e54-a61c-5bf959504366" providerId="AD" clId="Web-{61A26943-8698-5F97-0377-2590B2DC2A73}" dt="2024-01-30T23:19:51.869" v="21" actId="20577"/>
          <ac:spMkLst>
            <pc:docMk/>
            <pc:sldMk cId="3889839420" sldId="2147468960"/>
            <ac:spMk id="748" creationId="{52A172F7-40D3-395B-CCC6-FDB8624B34C3}"/>
          </ac:spMkLst>
        </pc:spChg>
      </pc:sldChg>
    </pc:docChg>
  </pc:docChgLst>
  <pc:docChgLst>
    <pc:chgData name="Caroline Baker" userId="S::caroline.baker@gartner.com::0fbdd6cc-5ea0-493c-bb40-f2bbc5de54ff" providerId="AD" clId="Web-{B8814815-445B-03B8-605F-A05E23E605C3}"/>
    <pc:docChg chg="mod">
      <pc:chgData name="Caroline Baker" userId="S::caroline.baker@gartner.com::0fbdd6cc-5ea0-493c-bb40-f2bbc5de54ff" providerId="AD" clId="Web-{B8814815-445B-03B8-605F-A05E23E605C3}" dt="2024-02-08T13:47:56.875" v="1"/>
      <pc:docMkLst>
        <pc:docMk/>
      </pc:docMkLst>
      <pc:sldChg chg="modCm">
        <pc:chgData name="Caroline Baker" userId="S::caroline.baker@gartner.com::0fbdd6cc-5ea0-493c-bb40-f2bbc5de54ff" providerId="AD" clId="Web-{B8814815-445B-03B8-605F-A05E23E605C3}" dt="2024-02-08T13:47:56.875" v="1"/>
        <pc:sldMkLst>
          <pc:docMk/>
          <pc:sldMk cId="2121165865" sldId="2147468999"/>
        </pc:sldMkLst>
        <pc:extLst>
          <p:ext xmlns:p="http://schemas.openxmlformats.org/presentationml/2006/main" uri="{D6D511B9-2390-475A-947B-AFAB55BFBCF1}">
            <pc226:cmChg xmlns:pc226="http://schemas.microsoft.com/office/powerpoint/2022/06/main/command" chg="">
              <pc226:chgData name="Caroline Baker" userId="S::caroline.baker@gartner.com::0fbdd6cc-5ea0-493c-bb40-f2bbc5de54ff" providerId="AD" clId="Web-{B8814815-445B-03B8-605F-A05E23E605C3}" dt="2024-02-08T13:47:56.875" v="1"/>
              <pc2:cmMkLst xmlns:pc2="http://schemas.microsoft.com/office/powerpoint/2019/9/main/command">
                <pc:docMk/>
                <pc:sldMk cId="2121165865" sldId="2147468999"/>
                <pc2:cmMk id="{F4A4A31F-A46E-0742-9FF3-536C822BC07D}"/>
              </pc2:cmMkLst>
              <pc226:cmRplyChg chg="add">
                <pc226:chgData name="Caroline Baker" userId="S::caroline.baker@gartner.com::0fbdd6cc-5ea0-493c-bb40-f2bbc5de54ff" providerId="AD" clId="Web-{B8814815-445B-03B8-605F-A05E23E605C3}" dt="2024-02-08T13:47:56.875" v="1"/>
                <pc2:cmRplyMkLst xmlns:pc2="http://schemas.microsoft.com/office/powerpoint/2019/9/main/command">
                  <pc:docMk/>
                  <pc:sldMk cId="2121165865" sldId="2147468999"/>
                  <pc2:cmMk id="{F4A4A31F-A46E-0742-9FF3-536C822BC07D}"/>
                  <pc2:cmRplyMk id="{86E31263-C8B4-4ABC-8E57-B657C364C858}"/>
                </pc2:cmRplyMkLst>
              </pc226:cmRplyChg>
            </pc226:cmChg>
          </p:ext>
        </pc:extLst>
      </pc:sldChg>
    </pc:docChg>
  </pc:docChgLst>
  <pc:docChgLst>
    <pc:chgData name="Caroline Baker" userId="S::caroline.baker@gartner.com::0fbdd6cc-5ea0-493c-bb40-f2bbc5de54ff" providerId="AD" clId="Web-{9DA46B07-0980-B166-769C-C3447FEB7757}"/>
    <pc:docChg chg="modSld">
      <pc:chgData name="Caroline Baker" userId="S::caroline.baker@gartner.com::0fbdd6cc-5ea0-493c-bb40-f2bbc5de54ff" providerId="AD" clId="Web-{9DA46B07-0980-B166-769C-C3447FEB7757}" dt="2024-02-08T16:24:41.766" v="14" actId="20577"/>
      <pc:docMkLst>
        <pc:docMk/>
      </pc:docMkLst>
      <pc:sldChg chg="modSp delCm modCm">
        <pc:chgData name="Caroline Baker" userId="S::caroline.baker@gartner.com::0fbdd6cc-5ea0-493c-bb40-f2bbc5de54ff" providerId="AD" clId="Web-{9DA46B07-0980-B166-769C-C3447FEB7757}" dt="2024-02-08T16:24:41.766" v="14" actId="20577"/>
        <pc:sldMkLst>
          <pc:docMk/>
          <pc:sldMk cId="2121165865" sldId="2147468999"/>
        </pc:sldMkLst>
        <pc:spChg chg="mod">
          <ac:chgData name="Caroline Baker" userId="S::caroline.baker@gartner.com::0fbdd6cc-5ea0-493c-bb40-f2bbc5de54ff" providerId="AD" clId="Web-{9DA46B07-0980-B166-769C-C3447FEB7757}" dt="2024-02-08T16:24:41.766" v="14" actId="20577"/>
          <ac:spMkLst>
            <pc:docMk/>
            <pc:sldMk cId="2121165865" sldId="2147468999"/>
            <ac:spMk id="3" creationId="{117D4E76-B3A1-717B-5C07-4BEB03A2C018}"/>
          </ac:spMkLst>
        </pc:spChg>
        <pc:extLst>
          <p:ext xmlns:p="http://schemas.openxmlformats.org/presentationml/2006/main" uri="{D6D511B9-2390-475A-947B-AFAB55BFBCF1}">
            <pc226:cmChg xmlns:pc226="http://schemas.microsoft.com/office/powerpoint/2022/06/main/command" chg="del mod">
              <pc226:chgData name="Caroline Baker" userId="S::caroline.baker@gartner.com::0fbdd6cc-5ea0-493c-bb40-f2bbc5de54ff" providerId="AD" clId="Web-{9DA46B07-0980-B166-769C-C3447FEB7757}" dt="2024-02-08T16:22:46.649" v="2"/>
              <pc2:cmMkLst xmlns:pc2="http://schemas.microsoft.com/office/powerpoint/2019/9/main/command">
                <pc:docMk/>
                <pc:sldMk cId="2121165865" sldId="2147468999"/>
                <pc2:cmMk id="{F4A4A31F-A46E-0742-9FF3-536C822BC07D}"/>
              </pc2:cmMkLst>
              <pc226:cmRplyChg chg="add">
                <pc226:chgData name="Caroline Baker" userId="S::caroline.baker@gartner.com::0fbdd6cc-5ea0-493c-bb40-f2bbc5de54ff" providerId="AD" clId="Web-{9DA46B07-0980-B166-769C-C3447FEB7757}" dt="2024-02-08T16:22:38.602" v="0"/>
                <pc2:cmRplyMkLst xmlns:pc2="http://schemas.microsoft.com/office/powerpoint/2019/9/main/command">
                  <pc:docMk/>
                  <pc:sldMk cId="2121165865" sldId="2147468999"/>
                  <pc2:cmMk id="{F4A4A31F-A46E-0742-9FF3-536C822BC07D}"/>
                  <pc2:cmRplyMk id="{65C7ABEE-981B-4596-8233-ED56ACC1FEE8}"/>
                </pc2:cmRplyMkLst>
              </pc226:cmRplyChg>
            </pc226:cmChg>
          </p:ext>
        </pc:extLst>
      </pc:sldChg>
      <pc:sldChg chg="modSp">
        <pc:chgData name="Caroline Baker" userId="S::caroline.baker@gartner.com::0fbdd6cc-5ea0-493c-bb40-f2bbc5de54ff" providerId="AD" clId="Web-{9DA46B07-0980-B166-769C-C3447FEB7757}" dt="2024-02-08T16:23:22.573" v="5" actId="20577"/>
        <pc:sldMkLst>
          <pc:docMk/>
          <pc:sldMk cId="2726029552" sldId="2147469022"/>
        </pc:sldMkLst>
        <pc:spChg chg="mod">
          <ac:chgData name="Caroline Baker" userId="S::caroline.baker@gartner.com::0fbdd6cc-5ea0-493c-bb40-f2bbc5de54ff" providerId="AD" clId="Web-{9DA46B07-0980-B166-769C-C3447FEB7757}" dt="2024-02-08T16:23:22.573" v="5" actId="20577"/>
          <ac:spMkLst>
            <pc:docMk/>
            <pc:sldMk cId="2726029552" sldId="2147469022"/>
            <ac:spMk id="3" creationId="{F98D152F-E39A-2840-312A-27B040ECCDA4}"/>
          </ac:spMkLst>
        </pc:spChg>
      </pc:sldChg>
    </pc:docChg>
  </pc:docChgLst>
  <pc:docChgLst>
    <pc:chgData name="Rita L. Sallam" userId="S::rita.sallam@gartner.com::27fa2d08-926d-4e54-a61c-5bf959504366" providerId="AD" clId="Web-{B47E4406-ADB3-59D6-4278-A34863ACEB92}"/>
    <pc:docChg chg="mod modSld">
      <pc:chgData name="Rita L. Sallam" userId="S::rita.sallam@gartner.com::27fa2d08-926d-4e54-a61c-5bf959504366" providerId="AD" clId="Web-{B47E4406-ADB3-59D6-4278-A34863ACEB92}" dt="2024-01-31T20:40:55.745" v="9"/>
      <pc:docMkLst>
        <pc:docMk/>
      </pc:docMkLst>
      <pc:sldChg chg="modSp addCm">
        <pc:chgData name="Rita L. Sallam" userId="S::rita.sallam@gartner.com::27fa2d08-926d-4e54-a61c-5bf959504366" providerId="AD" clId="Web-{B47E4406-ADB3-59D6-4278-A34863ACEB92}" dt="2024-01-31T20:39:53.086" v="8" actId="20577"/>
        <pc:sldMkLst>
          <pc:docMk/>
          <pc:sldMk cId="3191878711" sldId="2147468998"/>
        </pc:sldMkLst>
        <pc:spChg chg="mod">
          <ac:chgData name="Rita L. Sallam" userId="S::rita.sallam@gartner.com::27fa2d08-926d-4e54-a61c-5bf959504366" providerId="AD" clId="Web-{B47E4406-ADB3-59D6-4278-A34863ACEB92}" dt="2024-01-31T20:39:31.211" v="3" actId="20577"/>
          <ac:spMkLst>
            <pc:docMk/>
            <pc:sldMk cId="3191878711" sldId="2147468998"/>
            <ac:spMk id="5" creationId="{A8C94439-AB1F-C277-A8E0-41468A768E62}"/>
          </ac:spMkLst>
        </pc:spChg>
        <pc:spChg chg="mod">
          <ac:chgData name="Rita L. Sallam" userId="S::rita.sallam@gartner.com::27fa2d08-926d-4e54-a61c-5bf959504366" providerId="AD" clId="Web-{B47E4406-ADB3-59D6-4278-A34863ACEB92}" dt="2024-01-31T20:39:50.368" v="7" actId="20577"/>
          <ac:spMkLst>
            <pc:docMk/>
            <pc:sldMk cId="3191878711" sldId="2147468998"/>
            <ac:spMk id="9" creationId="{655A6175-6E74-01BE-C97E-280A846753DD}"/>
          </ac:spMkLst>
        </pc:spChg>
        <pc:spChg chg="mod">
          <ac:chgData name="Rita L. Sallam" userId="S::rita.sallam@gartner.com::27fa2d08-926d-4e54-a61c-5bf959504366" providerId="AD" clId="Web-{B47E4406-ADB3-59D6-4278-A34863ACEB92}" dt="2024-01-31T20:39:53.086" v="8" actId="20577"/>
          <ac:spMkLst>
            <pc:docMk/>
            <pc:sldMk cId="3191878711" sldId="2147468998"/>
            <ac:spMk id="11" creationId="{707C5A75-ED52-D606-7AC4-959202D8012F}"/>
          </ac:spMkLst>
        </pc:spChg>
        <pc:extLst>
          <p:ext xmlns:p="http://schemas.openxmlformats.org/presentationml/2006/main" uri="{D6D511B9-2390-475A-947B-AFAB55BFBCF1}">
            <pc226:cmChg xmlns:pc226="http://schemas.microsoft.com/office/powerpoint/2022/06/main/command" chg="add">
              <pc226:chgData name="Rita L. Sallam" userId="S::rita.sallam@gartner.com::27fa2d08-926d-4e54-a61c-5bf959504366" providerId="AD" clId="Web-{B47E4406-ADB3-59D6-4278-A34863ACEB92}" dt="2024-01-31T20:38:20.380" v="1"/>
              <pc2:cmMkLst xmlns:pc2="http://schemas.microsoft.com/office/powerpoint/2019/9/main/command">
                <pc:docMk/>
                <pc:sldMk cId="3191878711" sldId="2147468998"/>
                <pc2:cmMk id="{75435C4D-D4BA-4C20-80AB-D1C6369D8B74}"/>
              </pc2:cmMkLst>
            </pc226:cmChg>
          </p:ext>
        </pc:extLst>
      </pc:sldChg>
      <pc:sldChg chg="addCm">
        <pc:chgData name="Rita L. Sallam" userId="S::rita.sallam@gartner.com::27fa2d08-926d-4e54-a61c-5bf959504366" providerId="AD" clId="Web-{B47E4406-ADB3-59D6-4278-A34863ACEB92}" dt="2024-01-31T20:40:55.745" v="9"/>
        <pc:sldMkLst>
          <pc:docMk/>
          <pc:sldMk cId="2121165865" sldId="2147468999"/>
        </pc:sldMkLst>
        <pc:extLst>
          <p:ext xmlns:p="http://schemas.openxmlformats.org/presentationml/2006/main" uri="{D6D511B9-2390-475A-947B-AFAB55BFBCF1}">
            <pc226:cmChg xmlns:pc226="http://schemas.microsoft.com/office/powerpoint/2022/06/main/command" chg="add">
              <pc226:chgData name="Rita L. Sallam" userId="S::rita.sallam@gartner.com::27fa2d08-926d-4e54-a61c-5bf959504366" providerId="AD" clId="Web-{B47E4406-ADB3-59D6-4278-A34863ACEB92}" dt="2024-01-31T20:40:55.745" v="9"/>
              <pc2:cmMkLst xmlns:pc2="http://schemas.microsoft.com/office/powerpoint/2019/9/main/command">
                <pc:docMk/>
                <pc:sldMk cId="2121165865" sldId="2147468999"/>
                <pc2:cmMk id="{D84216FB-A0A4-427C-A91A-5B3CC178E2F5}"/>
              </pc2:cmMkLst>
            </pc226:cmChg>
          </p:ext>
        </pc:extLst>
      </pc:sldChg>
    </pc:docChg>
  </pc:docChgLst>
  <pc:docChgLst>
    <pc:chgData name="Maureen S. Fleming" userId="55564240-5a0e-4b16-8a23-b6077a4b6df8" providerId="ADAL" clId="{A523986C-F6BF-417F-B370-76E7AC853AD0}"/>
    <pc:docChg chg="undo custSel modSld">
      <pc:chgData name="Maureen S. Fleming" userId="55564240-5a0e-4b16-8a23-b6077a4b6df8" providerId="ADAL" clId="{A523986C-F6BF-417F-B370-76E7AC853AD0}" dt="2024-02-08T16:20:04.657" v="1636" actId="1076"/>
      <pc:docMkLst>
        <pc:docMk/>
      </pc:docMkLst>
      <pc:sldChg chg="delSp modSp mod">
        <pc:chgData name="Maureen S. Fleming" userId="55564240-5a0e-4b16-8a23-b6077a4b6df8" providerId="ADAL" clId="{A523986C-F6BF-417F-B370-76E7AC853AD0}" dt="2024-02-07T19:44:53.621" v="659" actId="1036"/>
        <pc:sldMkLst>
          <pc:docMk/>
          <pc:sldMk cId="1724820659" sldId="2147468884"/>
        </pc:sldMkLst>
        <pc:spChg chg="mod">
          <ac:chgData name="Maureen S. Fleming" userId="55564240-5a0e-4b16-8a23-b6077a4b6df8" providerId="ADAL" clId="{A523986C-F6BF-417F-B370-76E7AC853AD0}" dt="2024-02-07T19:44:53.621" v="659" actId="1036"/>
          <ac:spMkLst>
            <pc:docMk/>
            <pc:sldMk cId="1724820659" sldId="2147468884"/>
            <ac:spMk id="759" creationId="{3BADE806-97C4-C52D-6972-2F312E7D9938}"/>
          </ac:spMkLst>
        </pc:spChg>
        <pc:spChg chg="mod">
          <ac:chgData name="Maureen S. Fleming" userId="55564240-5a0e-4b16-8a23-b6077a4b6df8" providerId="ADAL" clId="{A523986C-F6BF-417F-B370-76E7AC853AD0}" dt="2024-02-07T19:44:53.621" v="659" actId="1036"/>
          <ac:spMkLst>
            <pc:docMk/>
            <pc:sldMk cId="1724820659" sldId="2147468884"/>
            <ac:spMk id="760" creationId="{16F0A96B-3D1E-E8DF-AC52-46F2C43A756E}"/>
          </ac:spMkLst>
        </pc:spChg>
        <pc:picChg chg="del">
          <ac:chgData name="Maureen S. Fleming" userId="55564240-5a0e-4b16-8a23-b6077a4b6df8" providerId="ADAL" clId="{A523986C-F6BF-417F-B370-76E7AC853AD0}" dt="2024-02-07T19:44:49.262" v="630" actId="478"/>
          <ac:picMkLst>
            <pc:docMk/>
            <pc:sldMk cId="1724820659" sldId="2147468884"/>
            <ac:picMk id="3" creationId="{217BAB94-E8F7-E2F8-8D8B-9719428BE1DE}"/>
          </ac:picMkLst>
        </pc:picChg>
        <pc:picChg chg="del">
          <ac:chgData name="Maureen S. Fleming" userId="55564240-5a0e-4b16-8a23-b6077a4b6df8" providerId="ADAL" clId="{A523986C-F6BF-417F-B370-76E7AC853AD0}" dt="2024-02-07T19:44:49.262" v="630" actId="478"/>
          <ac:picMkLst>
            <pc:docMk/>
            <pc:sldMk cId="1724820659" sldId="2147468884"/>
            <ac:picMk id="8" creationId="{6CC86569-C2BB-E4AB-CD1D-C40B55C1EEC6}"/>
          </ac:picMkLst>
        </pc:picChg>
        <pc:picChg chg="del">
          <ac:chgData name="Maureen S. Fleming" userId="55564240-5a0e-4b16-8a23-b6077a4b6df8" providerId="ADAL" clId="{A523986C-F6BF-417F-B370-76E7AC853AD0}" dt="2024-02-07T19:44:49.262" v="630" actId="478"/>
          <ac:picMkLst>
            <pc:docMk/>
            <pc:sldMk cId="1724820659" sldId="2147468884"/>
            <ac:picMk id="767" creationId="{29D670B7-BDA2-A0FF-14C5-B1BDE284D8EE}"/>
          </ac:picMkLst>
        </pc:picChg>
      </pc:sldChg>
      <pc:sldChg chg="delSp modSp mod">
        <pc:chgData name="Maureen S. Fleming" userId="55564240-5a0e-4b16-8a23-b6077a4b6df8" providerId="ADAL" clId="{A523986C-F6BF-417F-B370-76E7AC853AD0}" dt="2024-02-07T19:46:50.745" v="853" actId="1035"/>
        <pc:sldMkLst>
          <pc:docMk/>
          <pc:sldMk cId="2795186164" sldId="2147468885"/>
        </pc:sldMkLst>
        <pc:spChg chg="mod">
          <ac:chgData name="Maureen S. Fleming" userId="55564240-5a0e-4b16-8a23-b6077a4b6df8" providerId="ADAL" clId="{A523986C-F6BF-417F-B370-76E7AC853AD0}" dt="2024-02-07T19:46:50.745" v="853" actId="1035"/>
          <ac:spMkLst>
            <pc:docMk/>
            <pc:sldMk cId="2795186164" sldId="2147468885"/>
            <ac:spMk id="759" creationId="{3BADE806-97C4-C52D-6972-2F312E7D9938}"/>
          </ac:spMkLst>
        </pc:spChg>
        <pc:spChg chg="mod">
          <ac:chgData name="Maureen S. Fleming" userId="55564240-5a0e-4b16-8a23-b6077a4b6df8" providerId="ADAL" clId="{A523986C-F6BF-417F-B370-76E7AC853AD0}" dt="2024-02-07T19:46:50.745" v="853" actId="1035"/>
          <ac:spMkLst>
            <pc:docMk/>
            <pc:sldMk cId="2795186164" sldId="2147468885"/>
            <ac:spMk id="760" creationId="{16F0A96B-3D1E-E8DF-AC52-46F2C43A756E}"/>
          </ac:spMkLst>
        </pc:spChg>
        <pc:picChg chg="del">
          <ac:chgData name="Maureen S. Fleming" userId="55564240-5a0e-4b16-8a23-b6077a4b6df8" providerId="ADAL" clId="{A523986C-F6BF-417F-B370-76E7AC853AD0}" dt="2024-02-07T19:46:41.917" v="833" actId="478"/>
          <ac:picMkLst>
            <pc:docMk/>
            <pc:sldMk cId="2795186164" sldId="2147468885"/>
            <ac:picMk id="767" creationId="{29D670B7-BDA2-A0FF-14C5-B1BDE284D8EE}"/>
          </ac:picMkLst>
        </pc:picChg>
        <pc:picChg chg="del">
          <ac:chgData name="Maureen S. Fleming" userId="55564240-5a0e-4b16-8a23-b6077a4b6df8" providerId="ADAL" clId="{A523986C-F6BF-417F-B370-76E7AC853AD0}" dt="2024-02-07T19:46:41.917" v="833" actId="478"/>
          <ac:picMkLst>
            <pc:docMk/>
            <pc:sldMk cId="2795186164" sldId="2147468885"/>
            <ac:picMk id="1026" creationId="{91BADC15-A1EF-DC06-C5EF-D39F1A22052A}"/>
          </ac:picMkLst>
        </pc:picChg>
        <pc:picChg chg="del">
          <ac:chgData name="Maureen S. Fleming" userId="55564240-5a0e-4b16-8a23-b6077a4b6df8" providerId="ADAL" clId="{A523986C-F6BF-417F-B370-76E7AC853AD0}" dt="2024-02-07T19:46:41.917" v="833" actId="478"/>
          <ac:picMkLst>
            <pc:docMk/>
            <pc:sldMk cId="2795186164" sldId="2147468885"/>
            <ac:picMk id="1028" creationId="{09A44BF7-9212-8391-AA7E-CDDBF24C0B98}"/>
          </ac:picMkLst>
        </pc:picChg>
      </pc:sldChg>
      <pc:sldChg chg="delSp modSp mod">
        <pc:chgData name="Maureen S. Fleming" userId="55564240-5a0e-4b16-8a23-b6077a4b6df8" providerId="ADAL" clId="{A523986C-F6BF-417F-B370-76E7AC853AD0}" dt="2024-02-07T19:44:42.778" v="629" actId="1076"/>
        <pc:sldMkLst>
          <pc:docMk/>
          <pc:sldMk cId="196815597" sldId="2147468886"/>
        </pc:sldMkLst>
        <pc:spChg chg="mod">
          <ac:chgData name="Maureen S. Fleming" userId="55564240-5a0e-4b16-8a23-b6077a4b6df8" providerId="ADAL" clId="{A523986C-F6BF-417F-B370-76E7AC853AD0}" dt="2024-02-07T19:44:42.778" v="629" actId="1076"/>
          <ac:spMkLst>
            <pc:docMk/>
            <pc:sldMk cId="196815597" sldId="2147468886"/>
            <ac:spMk id="759" creationId="{3BADE806-97C4-C52D-6972-2F312E7D9938}"/>
          </ac:spMkLst>
        </pc:spChg>
        <pc:picChg chg="del">
          <ac:chgData name="Maureen S. Fleming" userId="55564240-5a0e-4b16-8a23-b6077a4b6df8" providerId="ADAL" clId="{A523986C-F6BF-417F-B370-76E7AC853AD0}" dt="2024-02-07T19:44:39.578" v="628" actId="478"/>
          <ac:picMkLst>
            <pc:docMk/>
            <pc:sldMk cId="196815597" sldId="2147468886"/>
            <ac:picMk id="8" creationId="{3AF34FD3-18A5-C4C0-7E5B-324820892046}"/>
          </ac:picMkLst>
        </pc:picChg>
      </pc:sldChg>
      <pc:sldChg chg="delSp modSp mod">
        <pc:chgData name="Maureen S. Fleming" userId="55564240-5a0e-4b16-8a23-b6077a4b6df8" providerId="ADAL" clId="{A523986C-F6BF-417F-B370-76E7AC853AD0}" dt="2024-02-07T19:46:59.925" v="871" actId="1035"/>
        <pc:sldMkLst>
          <pc:docMk/>
          <pc:sldMk cId="2796222228" sldId="2147468887"/>
        </pc:sldMkLst>
        <pc:spChg chg="mod">
          <ac:chgData name="Maureen S. Fleming" userId="55564240-5a0e-4b16-8a23-b6077a4b6df8" providerId="ADAL" clId="{A523986C-F6BF-417F-B370-76E7AC853AD0}" dt="2024-02-07T19:46:59.925" v="871" actId="1035"/>
          <ac:spMkLst>
            <pc:docMk/>
            <pc:sldMk cId="2796222228" sldId="2147468887"/>
            <ac:spMk id="759" creationId="{3BADE806-97C4-C52D-6972-2F312E7D9938}"/>
          </ac:spMkLst>
        </pc:spChg>
        <pc:spChg chg="mod">
          <ac:chgData name="Maureen S. Fleming" userId="55564240-5a0e-4b16-8a23-b6077a4b6df8" providerId="ADAL" clId="{A523986C-F6BF-417F-B370-76E7AC853AD0}" dt="2024-02-07T19:46:59.925" v="871" actId="1035"/>
          <ac:spMkLst>
            <pc:docMk/>
            <pc:sldMk cId="2796222228" sldId="2147468887"/>
            <ac:spMk id="760" creationId="{16F0A96B-3D1E-E8DF-AC52-46F2C43A756E}"/>
          </ac:spMkLst>
        </pc:spChg>
        <pc:picChg chg="del">
          <ac:chgData name="Maureen S. Fleming" userId="55564240-5a0e-4b16-8a23-b6077a4b6df8" providerId="ADAL" clId="{A523986C-F6BF-417F-B370-76E7AC853AD0}" dt="2024-02-07T19:46:55.697" v="855" actId="478"/>
          <ac:picMkLst>
            <pc:docMk/>
            <pc:sldMk cId="2796222228" sldId="2147468887"/>
            <ac:picMk id="3" creationId="{35CB3D30-03A7-901F-E26D-B5049D411514}"/>
          </ac:picMkLst>
        </pc:picChg>
        <pc:picChg chg="del mod">
          <ac:chgData name="Maureen S. Fleming" userId="55564240-5a0e-4b16-8a23-b6077a4b6df8" providerId="ADAL" clId="{A523986C-F6BF-417F-B370-76E7AC853AD0}" dt="2024-02-07T19:46:55.697" v="855" actId="478"/>
          <ac:picMkLst>
            <pc:docMk/>
            <pc:sldMk cId="2796222228" sldId="2147468887"/>
            <ac:picMk id="8" creationId="{ED24C6F1-E14C-6219-17F6-547AAD97E674}"/>
          </ac:picMkLst>
        </pc:picChg>
        <pc:picChg chg="del mod">
          <ac:chgData name="Maureen S. Fleming" userId="55564240-5a0e-4b16-8a23-b6077a4b6df8" providerId="ADAL" clId="{A523986C-F6BF-417F-B370-76E7AC853AD0}" dt="2024-02-07T19:46:55.697" v="855" actId="478"/>
          <ac:picMkLst>
            <pc:docMk/>
            <pc:sldMk cId="2796222228" sldId="2147468887"/>
            <ac:picMk id="767" creationId="{29D670B7-BDA2-A0FF-14C5-B1BDE284D8EE}"/>
          </ac:picMkLst>
        </pc:picChg>
      </pc:sldChg>
      <pc:sldChg chg="delSp modSp mod">
        <pc:chgData name="Maureen S. Fleming" userId="55564240-5a0e-4b16-8a23-b6077a4b6df8" providerId="ADAL" clId="{A523986C-F6BF-417F-B370-76E7AC853AD0}" dt="2024-02-07T19:48:17.628" v="1033" actId="1035"/>
        <pc:sldMkLst>
          <pc:docMk/>
          <pc:sldMk cId="1784610147" sldId="2147468888"/>
        </pc:sldMkLst>
        <pc:spChg chg="mod">
          <ac:chgData name="Maureen S. Fleming" userId="55564240-5a0e-4b16-8a23-b6077a4b6df8" providerId="ADAL" clId="{A523986C-F6BF-417F-B370-76E7AC853AD0}" dt="2024-02-07T19:48:17.628" v="1033" actId="1035"/>
          <ac:spMkLst>
            <pc:docMk/>
            <pc:sldMk cId="1784610147" sldId="2147468888"/>
            <ac:spMk id="16" creationId="{A515A911-4A17-3977-171A-A1C5B383CCEE}"/>
          </ac:spMkLst>
        </pc:spChg>
        <pc:spChg chg="mod">
          <ac:chgData name="Maureen S. Fleming" userId="55564240-5a0e-4b16-8a23-b6077a4b6df8" providerId="ADAL" clId="{A523986C-F6BF-417F-B370-76E7AC853AD0}" dt="2024-02-07T19:48:17.628" v="1033" actId="1035"/>
          <ac:spMkLst>
            <pc:docMk/>
            <pc:sldMk cId="1784610147" sldId="2147468888"/>
            <ac:spMk id="760" creationId="{16F0A96B-3D1E-E8DF-AC52-46F2C43A756E}"/>
          </ac:spMkLst>
        </pc:spChg>
        <pc:picChg chg="del mod">
          <ac:chgData name="Maureen S. Fleming" userId="55564240-5a0e-4b16-8a23-b6077a4b6df8" providerId="ADAL" clId="{A523986C-F6BF-417F-B370-76E7AC853AD0}" dt="2024-02-07T19:48:09.838" v="1008" actId="478"/>
          <ac:picMkLst>
            <pc:docMk/>
            <pc:sldMk cId="1784610147" sldId="2147468888"/>
            <ac:picMk id="3" creationId="{327DB191-2CFC-327F-B120-5AB7093BCB10}"/>
          </ac:picMkLst>
        </pc:picChg>
        <pc:picChg chg="del mod">
          <ac:chgData name="Maureen S. Fleming" userId="55564240-5a0e-4b16-8a23-b6077a4b6df8" providerId="ADAL" clId="{A523986C-F6BF-417F-B370-76E7AC853AD0}" dt="2024-02-07T19:48:09.838" v="1008" actId="478"/>
          <ac:picMkLst>
            <pc:docMk/>
            <pc:sldMk cId="1784610147" sldId="2147468888"/>
            <ac:picMk id="17" creationId="{AEDD97FC-BC53-9E8B-30DC-201FF1A33EBF}"/>
          </ac:picMkLst>
        </pc:picChg>
        <pc:picChg chg="del mod">
          <ac:chgData name="Maureen S. Fleming" userId="55564240-5a0e-4b16-8a23-b6077a4b6df8" providerId="ADAL" clId="{A523986C-F6BF-417F-B370-76E7AC853AD0}" dt="2024-02-07T19:48:09.838" v="1008" actId="478"/>
          <ac:picMkLst>
            <pc:docMk/>
            <pc:sldMk cId="1784610147" sldId="2147468888"/>
            <ac:picMk id="767" creationId="{29D670B7-BDA2-A0FF-14C5-B1BDE284D8EE}"/>
          </ac:picMkLst>
        </pc:picChg>
      </pc:sldChg>
      <pc:sldChg chg="delSp modSp mod">
        <pc:chgData name="Maureen S. Fleming" userId="55564240-5a0e-4b16-8a23-b6077a4b6df8" providerId="ADAL" clId="{A523986C-F6BF-417F-B370-76E7AC853AD0}" dt="2024-02-07T19:45:40.623" v="720" actId="1035"/>
        <pc:sldMkLst>
          <pc:docMk/>
          <pc:sldMk cId="653031102" sldId="2147468889"/>
        </pc:sldMkLst>
        <pc:spChg chg="mod">
          <ac:chgData name="Maureen S. Fleming" userId="55564240-5a0e-4b16-8a23-b6077a4b6df8" providerId="ADAL" clId="{A523986C-F6BF-417F-B370-76E7AC853AD0}" dt="2024-02-07T19:45:40.623" v="720" actId="1035"/>
          <ac:spMkLst>
            <pc:docMk/>
            <pc:sldMk cId="653031102" sldId="2147468889"/>
            <ac:spMk id="759" creationId="{3BADE806-97C4-C52D-6972-2F312E7D9938}"/>
          </ac:spMkLst>
        </pc:spChg>
        <pc:spChg chg="mod">
          <ac:chgData name="Maureen S. Fleming" userId="55564240-5a0e-4b16-8a23-b6077a4b6df8" providerId="ADAL" clId="{A523986C-F6BF-417F-B370-76E7AC853AD0}" dt="2024-02-07T19:45:40.623" v="720" actId="1035"/>
          <ac:spMkLst>
            <pc:docMk/>
            <pc:sldMk cId="653031102" sldId="2147468889"/>
            <ac:spMk id="760" creationId="{16F0A96B-3D1E-E8DF-AC52-46F2C43A756E}"/>
          </ac:spMkLst>
        </pc:spChg>
        <pc:picChg chg="del">
          <ac:chgData name="Maureen S. Fleming" userId="55564240-5a0e-4b16-8a23-b6077a4b6df8" providerId="ADAL" clId="{A523986C-F6BF-417F-B370-76E7AC853AD0}" dt="2024-02-07T19:45:37.463" v="706" actId="478"/>
          <ac:picMkLst>
            <pc:docMk/>
            <pc:sldMk cId="653031102" sldId="2147468889"/>
            <ac:picMk id="8" creationId="{85B0AD06-3A2C-5733-A064-36FF23F70606}"/>
          </ac:picMkLst>
        </pc:picChg>
        <pc:picChg chg="del">
          <ac:chgData name="Maureen S. Fleming" userId="55564240-5a0e-4b16-8a23-b6077a4b6df8" providerId="ADAL" clId="{A523986C-F6BF-417F-B370-76E7AC853AD0}" dt="2024-02-07T19:45:37.463" v="706" actId="478"/>
          <ac:picMkLst>
            <pc:docMk/>
            <pc:sldMk cId="653031102" sldId="2147468889"/>
            <ac:picMk id="12" creationId="{54D2B45F-E40F-0FDE-A1C8-96C39414B456}"/>
          </ac:picMkLst>
        </pc:picChg>
        <pc:picChg chg="del">
          <ac:chgData name="Maureen S. Fleming" userId="55564240-5a0e-4b16-8a23-b6077a4b6df8" providerId="ADAL" clId="{A523986C-F6BF-417F-B370-76E7AC853AD0}" dt="2024-02-07T19:45:37.463" v="706" actId="478"/>
          <ac:picMkLst>
            <pc:docMk/>
            <pc:sldMk cId="653031102" sldId="2147468889"/>
            <ac:picMk id="767" creationId="{29D670B7-BDA2-A0FF-14C5-B1BDE284D8EE}"/>
          </ac:picMkLst>
        </pc:picChg>
      </pc:sldChg>
      <pc:sldChg chg="delSp modSp mod">
        <pc:chgData name="Maureen S. Fleming" userId="55564240-5a0e-4b16-8a23-b6077a4b6df8" providerId="ADAL" clId="{A523986C-F6BF-417F-B370-76E7AC853AD0}" dt="2024-02-07T19:52:16.245" v="1446" actId="1036"/>
        <pc:sldMkLst>
          <pc:docMk/>
          <pc:sldMk cId="3157923667" sldId="2147468892"/>
        </pc:sldMkLst>
        <pc:spChg chg="mod">
          <ac:chgData name="Maureen S. Fleming" userId="55564240-5a0e-4b16-8a23-b6077a4b6df8" providerId="ADAL" clId="{A523986C-F6BF-417F-B370-76E7AC853AD0}" dt="2024-02-07T19:52:16.245" v="1446" actId="1036"/>
          <ac:spMkLst>
            <pc:docMk/>
            <pc:sldMk cId="3157923667" sldId="2147468892"/>
            <ac:spMk id="759" creationId="{3BADE806-97C4-C52D-6972-2F312E7D9938}"/>
          </ac:spMkLst>
        </pc:spChg>
        <pc:spChg chg="mod">
          <ac:chgData name="Maureen S. Fleming" userId="55564240-5a0e-4b16-8a23-b6077a4b6df8" providerId="ADAL" clId="{A523986C-F6BF-417F-B370-76E7AC853AD0}" dt="2024-02-07T19:52:16.245" v="1446" actId="1036"/>
          <ac:spMkLst>
            <pc:docMk/>
            <pc:sldMk cId="3157923667" sldId="2147468892"/>
            <ac:spMk id="760" creationId="{16F0A96B-3D1E-E8DF-AC52-46F2C43A756E}"/>
          </ac:spMkLst>
        </pc:spChg>
        <pc:picChg chg="del">
          <ac:chgData name="Maureen S. Fleming" userId="55564240-5a0e-4b16-8a23-b6077a4b6df8" providerId="ADAL" clId="{A523986C-F6BF-417F-B370-76E7AC853AD0}" dt="2024-02-07T19:52:10.947" v="1422" actId="478"/>
          <ac:picMkLst>
            <pc:docMk/>
            <pc:sldMk cId="3157923667" sldId="2147468892"/>
            <ac:picMk id="3" creationId="{0D60268A-5074-D5E0-DA22-322D2797731D}"/>
          </ac:picMkLst>
        </pc:picChg>
        <pc:picChg chg="del">
          <ac:chgData name="Maureen S. Fleming" userId="55564240-5a0e-4b16-8a23-b6077a4b6df8" providerId="ADAL" clId="{A523986C-F6BF-417F-B370-76E7AC853AD0}" dt="2024-02-07T19:52:10.947" v="1422" actId="478"/>
          <ac:picMkLst>
            <pc:docMk/>
            <pc:sldMk cId="3157923667" sldId="2147468892"/>
            <ac:picMk id="767" creationId="{29D670B7-BDA2-A0FF-14C5-B1BDE284D8EE}"/>
          </ac:picMkLst>
        </pc:picChg>
        <pc:picChg chg="del">
          <ac:chgData name="Maureen S. Fleming" userId="55564240-5a0e-4b16-8a23-b6077a4b6df8" providerId="ADAL" clId="{A523986C-F6BF-417F-B370-76E7AC853AD0}" dt="2024-02-07T19:52:10.947" v="1422" actId="478"/>
          <ac:picMkLst>
            <pc:docMk/>
            <pc:sldMk cId="3157923667" sldId="2147468892"/>
            <ac:picMk id="1026" creationId="{91BADC15-A1EF-DC06-C5EF-D39F1A22052A}"/>
          </ac:picMkLst>
        </pc:picChg>
      </pc:sldChg>
      <pc:sldChg chg="delSp modSp mod">
        <pc:chgData name="Maureen S. Fleming" userId="55564240-5a0e-4b16-8a23-b6077a4b6df8" providerId="ADAL" clId="{A523986C-F6BF-417F-B370-76E7AC853AD0}" dt="2024-02-07T19:45:05.411" v="661" actId="1076"/>
        <pc:sldMkLst>
          <pc:docMk/>
          <pc:sldMk cId="4085055161" sldId="2147468893"/>
        </pc:sldMkLst>
        <pc:spChg chg="mod">
          <ac:chgData name="Maureen S. Fleming" userId="55564240-5a0e-4b16-8a23-b6077a4b6df8" providerId="ADAL" clId="{A523986C-F6BF-417F-B370-76E7AC853AD0}" dt="2024-02-07T19:45:05.411" v="661" actId="1076"/>
          <ac:spMkLst>
            <pc:docMk/>
            <pc:sldMk cId="4085055161" sldId="2147468893"/>
            <ac:spMk id="759" creationId="{3BADE806-97C4-C52D-6972-2F312E7D9938}"/>
          </ac:spMkLst>
        </pc:spChg>
        <pc:picChg chg="del">
          <ac:chgData name="Maureen S. Fleming" userId="55564240-5a0e-4b16-8a23-b6077a4b6df8" providerId="ADAL" clId="{A523986C-F6BF-417F-B370-76E7AC853AD0}" dt="2024-02-07T19:45:02.112" v="660" actId="478"/>
          <ac:picMkLst>
            <pc:docMk/>
            <pc:sldMk cId="4085055161" sldId="2147468893"/>
            <ac:picMk id="3" creationId="{7E484857-197C-03F4-6831-4DE53C03E03E}"/>
          </ac:picMkLst>
        </pc:picChg>
      </pc:sldChg>
      <pc:sldChg chg="delSp modSp mod">
        <pc:chgData name="Maureen S. Fleming" userId="55564240-5a0e-4b16-8a23-b6077a4b6df8" providerId="ADAL" clId="{A523986C-F6BF-417F-B370-76E7AC853AD0}" dt="2024-02-07T19:47:53.948" v="982" actId="1035"/>
        <pc:sldMkLst>
          <pc:docMk/>
          <pc:sldMk cId="3428773387" sldId="2147468894"/>
        </pc:sldMkLst>
        <pc:spChg chg="mod">
          <ac:chgData name="Maureen S. Fleming" userId="55564240-5a0e-4b16-8a23-b6077a4b6df8" providerId="ADAL" clId="{A523986C-F6BF-417F-B370-76E7AC853AD0}" dt="2024-02-07T19:47:53.948" v="982" actId="1035"/>
          <ac:spMkLst>
            <pc:docMk/>
            <pc:sldMk cId="3428773387" sldId="2147468894"/>
            <ac:spMk id="759" creationId="{3BADE806-97C4-C52D-6972-2F312E7D9938}"/>
          </ac:spMkLst>
        </pc:spChg>
        <pc:spChg chg="mod">
          <ac:chgData name="Maureen S. Fleming" userId="55564240-5a0e-4b16-8a23-b6077a4b6df8" providerId="ADAL" clId="{A523986C-F6BF-417F-B370-76E7AC853AD0}" dt="2024-02-07T19:47:53.948" v="982" actId="1035"/>
          <ac:spMkLst>
            <pc:docMk/>
            <pc:sldMk cId="3428773387" sldId="2147468894"/>
            <ac:spMk id="760" creationId="{16F0A96B-3D1E-E8DF-AC52-46F2C43A756E}"/>
          </ac:spMkLst>
        </pc:spChg>
        <pc:picChg chg="del">
          <ac:chgData name="Maureen S. Fleming" userId="55564240-5a0e-4b16-8a23-b6077a4b6df8" providerId="ADAL" clId="{A523986C-F6BF-417F-B370-76E7AC853AD0}" dt="2024-02-07T19:47:50.797" v="966" actId="478"/>
          <ac:picMkLst>
            <pc:docMk/>
            <pc:sldMk cId="3428773387" sldId="2147468894"/>
            <ac:picMk id="8" creationId="{F2B73609-8541-01D2-3BFB-BAC540247297}"/>
          </ac:picMkLst>
        </pc:picChg>
        <pc:picChg chg="del">
          <ac:chgData name="Maureen S. Fleming" userId="55564240-5a0e-4b16-8a23-b6077a4b6df8" providerId="ADAL" clId="{A523986C-F6BF-417F-B370-76E7AC853AD0}" dt="2024-02-07T19:47:50.797" v="966" actId="478"/>
          <ac:picMkLst>
            <pc:docMk/>
            <pc:sldMk cId="3428773387" sldId="2147468894"/>
            <ac:picMk id="767" creationId="{29D670B7-BDA2-A0FF-14C5-B1BDE284D8EE}"/>
          </ac:picMkLst>
        </pc:picChg>
        <pc:picChg chg="del">
          <ac:chgData name="Maureen S. Fleming" userId="55564240-5a0e-4b16-8a23-b6077a4b6df8" providerId="ADAL" clId="{A523986C-F6BF-417F-B370-76E7AC853AD0}" dt="2024-02-07T19:47:50.797" v="966" actId="478"/>
          <ac:picMkLst>
            <pc:docMk/>
            <pc:sldMk cId="3428773387" sldId="2147468894"/>
            <ac:picMk id="1026" creationId="{91BADC15-A1EF-DC06-C5EF-D39F1A22052A}"/>
          </ac:picMkLst>
        </pc:picChg>
      </pc:sldChg>
      <pc:sldChg chg="delSp modSp mod">
        <pc:chgData name="Maureen S. Fleming" userId="55564240-5a0e-4b16-8a23-b6077a4b6df8" providerId="ADAL" clId="{A523986C-F6BF-417F-B370-76E7AC853AD0}" dt="2024-02-07T19:46:09.095" v="781" actId="1035"/>
        <pc:sldMkLst>
          <pc:docMk/>
          <pc:sldMk cId="1867902529" sldId="2147468895"/>
        </pc:sldMkLst>
        <pc:spChg chg="mod">
          <ac:chgData name="Maureen S. Fleming" userId="55564240-5a0e-4b16-8a23-b6077a4b6df8" providerId="ADAL" clId="{A523986C-F6BF-417F-B370-76E7AC853AD0}" dt="2024-02-07T19:46:09.095" v="781" actId="1035"/>
          <ac:spMkLst>
            <pc:docMk/>
            <pc:sldMk cId="1867902529" sldId="2147468895"/>
            <ac:spMk id="12" creationId="{BB95A458-7AAB-50D4-2366-C6ECE29B571D}"/>
          </ac:spMkLst>
        </pc:spChg>
        <pc:spChg chg="mod">
          <ac:chgData name="Maureen S. Fleming" userId="55564240-5a0e-4b16-8a23-b6077a4b6df8" providerId="ADAL" clId="{A523986C-F6BF-417F-B370-76E7AC853AD0}" dt="2024-02-07T19:46:09.095" v="781" actId="1035"/>
          <ac:spMkLst>
            <pc:docMk/>
            <pc:sldMk cId="1867902529" sldId="2147468895"/>
            <ac:spMk id="759" creationId="{3BADE806-97C4-C52D-6972-2F312E7D9938}"/>
          </ac:spMkLst>
        </pc:spChg>
        <pc:picChg chg="del">
          <ac:chgData name="Maureen S. Fleming" userId="55564240-5a0e-4b16-8a23-b6077a4b6df8" providerId="ADAL" clId="{A523986C-F6BF-417F-B370-76E7AC853AD0}" dt="2024-02-07T19:46:03.495" v="754" actId="478"/>
          <ac:picMkLst>
            <pc:docMk/>
            <pc:sldMk cId="1867902529" sldId="2147468895"/>
            <ac:picMk id="3" creationId="{8540EB41-DD31-12FA-FD6E-D76EED8B03E9}"/>
          </ac:picMkLst>
        </pc:picChg>
        <pc:picChg chg="del">
          <ac:chgData name="Maureen S. Fleming" userId="55564240-5a0e-4b16-8a23-b6077a4b6df8" providerId="ADAL" clId="{A523986C-F6BF-417F-B370-76E7AC853AD0}" dt="2024-02-07T19:46:03.495" v="754" actId="478"/>
          <ac:picMkLst>
            <pc:docMk/>
            <pc:sldMk cId="1867902529" sldId="2147468895"/>
            <ac:picMk id="767" creationId="{29D670B7-BDA2-A0FF-14C5-B1BDE284D8EE}"/>
          </ac:picMkLst>
        </pc:picChg>
        <pc:picChg chg="del">
          <ac:chgData name="Maureen S. Fleming" userId="55564240-5a0e-4b16-8a23-b6077a4b6df8" providerId="ADAL" clId="{A523986C-F6BF-417F-B370-76E7AC853AD0}" dt="2024-02-07T19:46:03.495" v="754" actId="478"/>
          <ac:picMkLst>
            <pc:docMk/>
            <pc:sldMk cId="1867902529" sldId="2147468895"/>
            <ac:picMk id="1026" creationId="{91BADC15-A1EF-DC06-C5EF-D39F1A22052A}"/>
          </ac:picMkLst>
        </pc:picChg>
      </pc:sldChg>
      <pc:sldChg chg="delSp modSp mod">
        <pc:chgData name="Maureen S. Fleming" userId="55564240-5a0e-4b16-8a23-b6077a4b6df8" providerId="ADAL" clId="{A523986C-F6BF-417F-B370-76E7AC853AD0}" dt="2024-02-07T19:52:53.328" v="1508" actId="1076"/>
        <pc:sldMkLst>
          <pc:docMk/>
          <pc:sldMk cId="4235738632" sldId="2147468896"/>
        </pc:sldMkLst>
        <pc:spChg chg="mod">
          <ac:chgData name="Maureen S. Fleming" userId="55564240-5a0e-4b16-8a23-b6077a4b6df8" providerId="ADAL" clId="{A523986C-F6BF-417F-B370-76E7AC853AD0}" dt="2024-02-07T19:52:53.328" v="1508" actId="1076"/>
          <ac:spMkLst>
            <pc:docMk/>
            <pc:sldMk cId="4235738632" sldId="2147468896"/>
            <ac:spMk id="759" creationId="{3BADE806-97C4-C52D-6972-2F312E7D9938}"/>
          </ac:spMkLst>
        </pc:spChg>
        <pc:spChg chg="mod">
          <ac:chgData name="Maureen S. Fleming" userId="55564240-5a0e-4b16-8a23-b6077a4b6df8" providerId="ADAL" clId="{A523986C-F6BF-417F-B370-76E7AC853AD0}" dt="2024-02-07T19:52:46.339" v="1507" actId="1035"/>
          <ac:spMkLst>
            <pc:docMk/>
            <pc:sldMk cId="4235738632" sldId="2147468896"/>
            <ac:spMk id="760" creationId="{16F0A96B-3D1E-E8DF-AC52-46F2C43A756E}"/>
          </ac:spMkLst>
        </pc:spChg>
        <pc:picChg chg="del">
          <ac:chgData name="Maureen S. Fleming" userId="55564240-5a0e-4b16-8a23-b6077a4b6df8" providerId="ADAL" clId="{A523986C-F6BF-417F-B370-76E7AC853AD0}" dt="2024-02-07T19:52:41.635" v="1491" actId="478"/>
          <ac:picMkLst>
            <pc:docMk/>
            <pc:sldMk cId="4235738632" sldId="2147468896"/>
            <ac:picMk id="2" creationId="{057C6776-4A51-757D-2BB9-BCD6381B6643}"/>
          </ac:picMkLst>
        </pc:picChg>
        <pc:picChg chg="del">
          <ac:chgData name="Maureen S. Fleming" userId="55564240-5a0e-4b16-8a23-b6077a4b6df8" providerId="ADAL" clId="{A523986C-F6BF-417F-B370-76E7AC853AD0}" dt="2024-02-07T19:52:41.635" v="1491" actId="478"/>
          <ac:picMkLst>
            <pc:docMk/>
            <pc:sldMk cId="4235738632" sldId="2147468896"/>
            <ac:picMk id="767" creationId="{29D670B7-BDA2-A0FF-14C5-B1BDE284D8EE}"/>
          </ac:picMkLst>
        </pc:picChg>
        <pc:picChg chg="del">
          <ac:chgData name="Maureen S. Fleming" userId="55564240-5a0e-4b16-8a23-b6077a4b6df8" providerId="ADAL" clId="{A523986C-F6BF-417F-B370-76E7AC853AD0}" dt="2024-02-07T19:52:41.635" v="1491" actId="478"/>
          <ac:picMkLst>
            <pc:docMk/>
            <pc:sldMk cId="4235738632" sldId="2147468896"/>
            <ac:picMk id="1026" creationId="{91BADC15-A1EF-DC06-C5EF-D39F1A22052A}"/>
          </ac:picMkLst>
        </pc:picChg>
      </pc:sldChg>
      <pc:sldChg chg="delSp modSp mod">
        <pc:chgData name="Maureen S. Fleming" userId="55564240-5a0e-4b16-8a23-b6077a4b6df8" providerId="ADAL" clId="{A523986C-F6BF-417F-B370-76E7AC853AD0}" dt="2024-02-07T19:37:34.963" v="97" actId="1076"/>
        <pc:sldMkLst>
          <pc:docMk/>
          <pc:sldMk cId="2453433794" sldId="2147468897"/>
        </pc:sldMkLst>
        <pc:spChg chg="mod">
          <ac:chgData name="Maureen S. Fleming" userId="55564240-5a0e-4b16-8a23-b6077a4b6df8" providerId="ADAL" clId="{A523986C-F6BF-417F-B370-76E7AC853AD0}" dt="2024-02-07T19:37:31.947" v="96" actId="1076"/>
          <ac:spMkLst>
            <pc:docMk/>
            <pc:sldMk cId="2453433794" sldId="2147468897"/>
            <ac:spMk id="759" creationId="{3BADE806-97C4-C52D-6972-2F312E7D9938}"/>
          </ac:spMkLst>
        </pc:spChg>
        <pc:spChg chg="mod">
          <ac:chgData name="Maureen S. Fleming" userId="55564240-5a0e-4b16-8a23-b6077a4b6df8" providerId="ADAL" clId="{A523986C-F6BF-417F-B370-76E7AC853AD0}" dt="2024-02-07T19:37:34.963" v="97" actId="1076"/>
          <ac:spMkLst>
            <pc:docMk/>
            <pc:sldMk cId="2453433794" sldId="2147468897"/>
            <ac:spMk id="760" creationId="{16F0A96B-3D1E-E8DF-AC52-46F2C43A756E}"/>
          </ac:spMkLst>
        </pc:spChg>
        <pc:picChg chg="del">
          <ac:chgData name="Maureen S. Fleming" userId="55564240-5a0e-4b16-8a23-b6077a4b6df8" providerId="ADAL" clId="{A523986C-F6BF-417F-B370-76E7AC853AD0}" dt="2024-02-07T19:37:28.278" v="95" actId="478"/>
          <ac:picMkLst>
            <pc:docMk/>
            <pc:sldMk cId="2453433794" sldId="2147468897"/>
            <ac:picMk id="8" creationId="{EFCBA01D-8719-9F5E-8AF9-3958209B7A72}"/>
          </ac:picMkLst>
        </pc:picChg>
        <pc:picChg chg="del">
          <ac:chgData name="Maureen S. Fleming" userId="55564240-5a0e-4b16-8a23-b6077a4b6df8" providerId="ADAL" clId="{A523986C-F6BF-417F-B370-76E7AC853AD0}" dt="2024-02-07T19:37:28.278" v="95" actId="478"/>
          <ac:picMkLst>
            <pc:docMk/>
            <pc:sldMk cId="2453433794" sldId="2147468897"/>
            <ac:picMk id="767" creationId="{29D670B7-BDA2-A0FF-14C5-B1BDE284D8EE}"/>
          </ac:picMkLst>
        </pc:picChg>
        <pc:picChg chg="del">
          <ac:chgData name="Maureen S. Fleming" userId="55564240-5a0e-4b16-8a23-b6077a4b6df8" providerId="ADAL" clId="{A523986C-F6BF-417F-B370-76E7AC853AD0}" dt="2024-02-07T19:37:28.278" v="95" actId="478"/>
          <ac:picMkLst>
            <pc:docMk/>
            <pc:sldMk cId="2453433794" sldId="2147468897"/>
            <ac:picMk id="13314" creationId="{8AAB18AB-37CC-1797-17A1-936D12C91586}"/>
          </ac:picMkLst>
        </pc:picChg>
      </pc:sldChg>
      <pc:sldChg chg="delSp modSp mod">
        <pc:chgData name="Maureen S. Fleming" userId="55564240-5a0e-4b16-8a23-b6077a4b6df8" providerId="ADAL" clId="{A523986C-F6BF-417F-B370-76E7AC853AD0}" dt="2024-02-07T19:48:39.213" v="1084" actId="1035"/>
        <pc:sldMkLst>
          <pc:docMk/>
          <pc:sldMk cId="2116846154" sldId="2147468898"/>
        </pc:sldMkLst>
        <pc:spChg chg="mod">
          <ac:chgData name="Maureen S. Fleming" userId="55564240-5a0e-4b16-8a23-b6077a4b6df8" providerId="ADAL" clId="{A523986C-F6BF-417F-B370-76E7AC853AD0}" dt="2024-02-07T19:48:39.213" v="1084" actId="1035"/>
          <ac:spMkLst>
            <pc:docMk/>
            <pc:sldMk cId="2116846154" sldId="2147468898"/>
            <ac:spMk id="16" creationId="{0D8086C0-EA81-F87B-D8C2-597714CEE04E}"/>
          </ac:spMkLst>
        </pc:spChg>
        <pc:spChg chg="mod">
          <ac:chgData name="Maureen S. Fleming" userId="55564240-5a0e-4b16-8a23-b6077a4b6df8" providerId="ADAL" clId="{A523986C-F6BF-417F-B370-76E7AC853AD0}" dt="2024-02-07T19:48:39.213" v="1084" actId="1035"/>
          <ac:spMkLst>
            <pc:docMk/>
            <pc:sldMk cId="2116846154" sldId="2147468898"/>
            <ac:spMk id="760" creationId="{16F0A96B-3D1E-E8DF-AC52-46F2C43A756E}"/>
          </ac:spMkLst>
        </pc:spChg>
        <pc:picChg chg="del">
          <ac:chgData name="Maureen S. Fleming" userId="55564240-5a0e-4b16-8a23-b6077a4b6df8" providerId="ADAL" clId="{A523986C-F6BF-417F-B370-76E7AC853AD0}" dt="2024-02-07T19:48:32.528" v="1052" actId="478"/>
          <ac:picMkLst>
            <pc:docMk/>
            <pc:sldMk cId="2116846154" sldId="2147468898"/>
            <ac:picMk id="8" creationId="{F2E98247-053B-59CF-2A3A-41FD838CD132}"/>
          </ac:picMkLst>
        </pc:picChg>
        <pc:picChg chg="del">
          <ac:chgData name="Maureen S. Fleming" userId="55564240-5a0e-4b16-8a23-b6077a4b6df8" providerId="ADAL" clId="{A523986C-F6BF-417F-B370-76E7AC853AD0}" dt="2024-02-07T19:48:32.528" v="1052" actId="478"/>
          <ac:picMkLst>
            <pc:docMk/>
            <pc:sldMk cId="2116846154" sldId="2147468898"/>
            <ac:picMk id="17" creationId="{3EAD2121-8BF3-ABC3-1BBA-72F2B43B4C36}"/>
          </ac:picMkLst>
        </pc:picChg>
        <pc:picChg chg="del">
          <ac:chgData name="Maureen S. Fleming" userId="55564240-5a0e-4b16-8a23-b6077a4b6df8" providerId="ADAL" clId="{A523986C-F6BF-417F-B370-76E7AC853AD0}" dt="2024-02-07T19:48:32.528" v="1052" actId="478"/>
          <ac:picMkLst>
            <pc:docMk/>
            <pc:sldMk cId="2116846154" sldId="2147468898"/>
            <ac:picMk id="767" creationId="{29D670B7-BDA2-A0FF-14C5-B1BDE284D8EE}"/>
          </ac:picMkLst>
        </pc:picChg>
      </pc:sldChg>
      <pc:sldChg chg="delSp modSp mod">
        <pc:chgData name="Maureen S. Fleming" userId="55564240-5a0e-4b16-8a23-b6077a4b6df8" providerId="ADAL" clId="{A523986C-F6BF-417F-B370-76E7AC853AD0}" dt="2024-02-07T19:41:04.948" v="420" actId="1076"/>
        <pc:sldMkLst>
          <pc:docMk/>
          <pc:sldMk cId="2232945223" sldId="2147468899"/>
        </pc:sldMkLst>
        <pc:spChg chg="mod">
          <ac:chgData name="Maureen S. Fleming" userId="55564240-5a0e-4b16-8a23-b6077a4b6df8" providerId="ADAL" clId="{A523986C-F6BF-417F-B370-76E7AC853AD0}" dt="2024-02-07T19:41:04.948" v="420" actId="1076"/>
          <ac:spMkLst>
            <pc:docMk/>
            <pc:sldMk cId="2232945223" sldId="2147468899"/>
            <ac:spMk id="759" creationId="{3BADE806-97C4-C52D-6972-2F312E7D9938}"/>
          </ac:spMkLst>
        </pc:spChg>
        <pc:picChg chg="del">
          <ac:chgData name="Maureen S. Fleming" userId="55564240-5a0e-4b16-8a23-b6077a4b6df8" providerId="ADAL" clId="{A523986C-F6BF-417F-B370-76E7AC853AD0}" dt="2024-02-07T19:41:02.328" v="419" actId="478"/>
          <ac:picMkLst>
            <pc:docMk/>
            <pc:sldMk cId="2232945223" sldId="2147468899"/>
            <ac:picMk id="8" creationId="{1F525F48-1454-16CD-3A9B-F3467D3FAFB5}"/>
          </ac:picMkLst>
        </pc:picChg>
      </pc:sldChg>
      <pc:sldChg chg="delSp modSp mod">
        <pc:chgData name="Maureen S. Fleming" userId="55564240-5a0e-4b16-8a23-b6077a4b6df8" providerId="ADAL" clId="{A523986C-F6BF-417F-B370-76E7AC853AD0}" dt="2024-02-07T19:45:48.806" v="737" actId="1035"/>
        <pc:sldMkLst>
          <pc:docMk/>
          <pc:sldMk cId="2248409120" sldId="2147468900"/>
        </pc:sldMkLst>
        <pc:spChg chg="mod">
          <ac:chgData name="Maureen S. Fleming" userId="55564240-5a0e-4b16-8a23-b6077a4b6df8" providerId="ADAL" clId="{A523986C-F6BF-417F-B370-76E7AC853AD0}" dt="2024-02-07T19:45:48.806" v="737" actId="1035"/>
          <ac:spMkLst>
            <pc:docMk/>
            <pc:sldMk cId="2248409120" sldId="2147468900"/>
            <ac:spMk id="14" creationId="{65DE1FDC-ACB9-82BD-A5C8-EBBDB7976D04}"/>
          </ac:spMkLst>
        </pc:spChg>
        <pc:spChg chg="mod">
          <ac:chgData name="Maureen S. Fleming" userId="55564240-5a0e-4b16-8a23-b6077a4b6df8" providerId="ADAL" clId="{A523986C-F6BF-417F-B370-76E7AC853AD0}" dt="2024-02-07T19:45:48.806" v="737" actId="1035"/>
          <ac:spMkLst>
            <pc:docMk/>
            <pc:sldMk cId="2248409120" sldId="2147468900"/>
            <ac:spMk id="759" creationId="{3BADE806-97C4-C52D-6972-2F312E7D9938}"/>
          </ac:spMkLst>
        </pc:spChg>
        <pc:picChg chg="del">
          <ac:chgData name="Maureen S. Fleming" userId="55564240-5a0e-4b16-8a23-b6077a4b6df8" providerId="ADAL" clId="{A523986C-F6BF-417F-B370-76E7AC853AD0}" dt="2024-02-07T19:45:45.462" v="721" actId="478"/>
          <ac:picMkLst>
            <pc:docMk/>
            <pc:sldMk cId="2248409120" sldId="2147468900"/>
            <ac:picMk id="3" creationId="{11585BF5-FE1C-B627-B1A7-B967F344BF21}"/>
          </ac:picMkLst>
        </pc:picChg>
        <pc:picChg chg="del">
          <ac:chgData name="Maureen S. Fleming" userId="55564240-5a0e-4b16-8a23-b6077a4b6df8" providerId="ADAL" clId="{A523986C-F6BF-417F-B370-76E7AC853AD0}" dt="2024-02-07T19:45:45.462" v="721" actId="478"/>
          <ac:picMkLst>
            <pc:docMk/>
            <pc:sldMk cId="2248409120" sldId="2147468900"/>
            <ac:picMk id="8" creationId="{BDF63CAE-88D0-6D7D-F0A0-001C8E4DC3A6}"/>
          </ac:picMkLst>
        </pc:picChg>
        <pc:picChg chg="del">
          <ac:chgData name="Maureen S. Fleming" userId="55564240-5a0e-4b16-8a23-b6077a4b6df8" providerId="ADAL" clId="{A523986C-F6BF-417F-B370-76E7AC853AD0}" dt="2024-02-07T19:45:45.462" v="721" actId="478"/>
          <ac:picMkLst>
            <pc:docMk/>
            <pc:sldMk cId="2248409120" sldId="2147468900"/>
            <ac:picMk id="767" creationId="{29D670B7-BDA2-A0FF-14C5-B1BDE284D8EE}"/>
          </ac:picMkLst>
        </pc:picChg>
      </pc:sldChg>
      <pc:sldChg chg="delSp modSp mod">
        <pc:chgData name="Maureen S. Fleming" userId="55564240-5a0e-4b16-8a23-b6077a4b6df8" providerId="ADAL" clId="{A523986C-F6BF-417F-B370-76E7AC853AD0}" dt="2024-02-07T19:52:36.576" v="1490" actId="1036"/>
        <pc:sldMkLst>
          <pc:docMk/>
          <pc:sldMk cId="2430686647" sldId="2147468901"/>
        </pc:sldMkLst>
        <pc:spChg chg="mod">
          <ac:chgData name="Maureen S. Fleming" userId="55564240-5a0e-4b16-8a23-b6077a4b6df8" providerId="ADAL" clId="{A523986C-F6BF-417F-B370-76E7AC853AD0}" dt="2024-02-07T19:52:36.576" v="1490" actId="1036"/>
          <ac:spMkLst>
            <pc:docMk/>
            <pc:sldMk cId="2430686647" sldId="2147468901"/>
            <ac:spMk id="12" creationId="{C777AF89-48D0-D533-EFCD-7F9BB506BE1B}"/>
          </ac:spMkLst>
        </pc:spChg>
        <pc:spChg chg="mod">
          <ac:chgData name="Maureen S. Fleming" userId="55564240-5a0e-4b16-8a23-b6077a4b6df8" providerId="ADAL" clId="{A523986C-F6BF-417F-B370-76E7AC853AD0}" dt="2024-02-07T19:52:36.576" v="1490" actId="1036"/>
          <ac:spMkLst>
            <pc:docMk/>
            <pc:sldMk cId="2430686647" sldId="2147468901"/>
            <ac:spMk id="759" creationId="{3BADE806-97C4-C52D-6972-2F312E7D9938}"/>
          </ac:spMkLst>
        </pc:spChg>
        <pc:picChg chg="del">
          <ac:chgData name="Maureen S. Fleming" userId="55564240-5a0e-4b16-8a23-b6077a4b6df8" providerId="ADAL" clId="{A523986C-F6BF-417F-B370-76E7AC853AD0}" dt="2024-02-07T19:52:31.749" v="1468" actId="478"/>
          <ac:picMkLst>
            <pc:docMk/>
            <pc:sldMk cId="2430686647" sldId="2147468901"/>
            <ac:picMk id="8" creationId="{665243BA-EBAB-594D-2529-2E7748A2E42D}"/>
          </ac:picMkLst>
        </pc:picChg>
        <pc:picChg chg="del">
          <ac:chgData name="Maureen S. Fleming" userId="55564240-5a0e-4b16-8a23-b6077a4b6df8" providerId="ADAL" clId="{A523986C-F6BF-417F-B370-76E7AC853AD0}" dt="2024-02-07T19:52:31.749" v="1468" actId="478"/>
          <ac:picMkLst>
            <pc:docMk/>
            <pc:sldMk cId="2430686647" sldId="2147468901"/>
            <ac:picMk id="767" creationId="{29D670B7-BDA2-A0FF-14C5-B1BDE284D8EE}"/>
          </ac:picMkLst>
        </pc:picChg>
        <pc:picChg chg="del">
          <ac:chgData name="Maureen S. Fleming" userId="55564240-5a0e-4b16-8a23-b6077a4b6df8" providerId="ADAL" clId="{A523986C-F6BF-417F-B370-76E7AC853AD0}" dt="2024-02-07T19:52:31.749" v="1468" actId="478"/>
          <ac:picMkLst>
            <pc:docMk/>
            <pc:sldMk cId="2430686647" sldId="2147468901"/>
            <ac:picMk id="1026" creationId="{91BADC15-A1EF-DC06-C5EF-D39F1A22052A}"/>
          </ac:picMkLst>
        </pc:picChg>
      </pc:sldChg>
      <pc:sldChg chg="delSp modSp mod">
        <pc:chgData name="Maureen S. Fleming" userId="55564240-5a0e-4b16-8a23-b6077a4b6df8" providerId="ADAL" clId="{A523986C-F6BF-417F-B370-76E7AC853AD0}" dt="2024-02-07T19:48:02.961" v="1006" actId="1035"/>
        <pc:sldMkLst>
          <pc:docMk/>
          <pc:sldMk cId="1153436385" sldId="2147468902"/>
        </pc:sldMkLst>
        <pc:spChg chg="mod">
          <ac:chgData name="Maureen S. Fleming" userId="55564240-5a0e-4b16-8a23-b6077a4b6df8" providerId="ADAL" clId="{A523986C-F6BF-417F-B370-76E7AC853AD0}" dt="2024-02-07T19:48:02.961" v="1006" actId="1035"/>
          <ac:spMkLst>
            <pc:docMk/>
            <pc:sldMk cId="1153436385" sldId="2147468902"/>
            <ac:spMk id="12" creationId="{9130A4E3-029D-FF8F-B392-8BA289B6762E}"/>
          </ac:spMkLst>
        </pc:spChg>
        <pc:spChg chg="mod">
          <ac:chgData name="Maureen S. Fleming" userId="55564240-5a0e-4b16-8a23-b6077a4b6df8" providerId="ADAL" clId="{A523986C-F6BF-417F-B370-76E7AC853AD0}" dt="2024-02-07T19:48:02.961" v="1006" actId="1035"/>
          <ac:spMkLst>
            <pc:docMk/>
            <pc:sldMk cId="1153436385" sldId="2147468902"/>
            <ac:spMk id="759" creationId="{3BADE806-97C4-C52D-6972-2F312E7D9938}"/>
          </ac:spMkLst>
        </pc:spChg>
        <pc:picChg chg="del">
          <ac:chgData name="Maureen S. Fleming" userId="55564240-5a0e-4b16-8a23-b6077a4b6df8" providerId="ADAL" clId="{A523986C-F6BF-417F-B370-76E7AC853AD0}" dt="2024-02-07T19:47:58.228" v="983" actId="478"/>
          <ac:picMkLst>
            <pc:docMk/>
            <pc:sldMk cId="1153436385" sldId="2147468902"/>
            <ac:picMk id="3" creationId="{4615E331-628F-6B7C-26D2-9CD0650BA015}"/>
          </ac:picMkLst>
        </pc:picChg>
        <pc:picChg chg="del">
          <ac:chgData name="Maureen S. Fleming" userId="55564240-5a0e-4b16-8a23-b6077a4b6df8" providerId="ADAL" clId="{A523986C-F6BF-417F-B370-76E7AC853AD0}" dt="2024-02-07T19:47:58.228" v="983" actId="478"/>
          <ac:picMkLst>
            <pc:docMk/>
            <pc:sldMk cId="1153436385" sldId="2147468902"/>
            <ac:picMk id="767" creationId="{29D670B7-BDA2-A0FF-14C5-B1BDE284D8EE}"/>
          </ac:picMkLst>
        </pc:picChg>
        <pc:picChg chg="del">
          <ac:chgData name="Maureen S. Fleming" userId="55564240-5a0e-4b16-8a23-b6077a4b6df8" providerId="ADAL" clId="{A523986C-F6BF-417F-B370-76E7AC853AD0}" dt="2024-02-07T19:47:58.228" v="983" actId="478"/>
          <ac:picMkLst>
            <pc:docMk/>
            <pc:sldMk cId="1153436385" sldId="2147468902"/>
            <ac:picMk id="1026" creationId="{91BADC15-A1EF-DC06-C5EF-D39F1A22052A}"/>
          </ac:picMkLst>
        </pc:picChg>
      </pc:sldChg>
      <pc:sldChg chg="delSp modSp mod">
        <pc:chgData name="Maureen S. Fleming" userId="55564240-5a0e-4b16-8a23-b6077a4b6df8" providerId="ADAL" clId="{A523986C-F6BF-417F-B370-76E7AC853AD0}" dt="2024-02-07T19:45:14.954" v="681" actId="1035"/>
        <pc:sldMkLst>
          <pc:docMk/>
          <pc:sldMk cId="313406063" sldId="2147468903"/>
        </pc:sldMkLst>
        <pc:spChg chg="mod">
          <ac:chgData name="Maureen S. Fleming" userId="55564240-5a0e-4b16-8a23-b6077a4b6df8" providerId="ADAL" clId="{A523986C-F6BF-417F-B370-76E7AC853AD0}" dt="2024-02-07T19:45:14.954" v="681" actId="1035"/>
          <ac:spMkLst>
            <pc:docMk/>
            <pc:sldMk cId="313406063" sldId="2147468903"/>
            <ac:spMk id="12" creationId="{6A4626E8-8B3D-39B2-E635-798DCAD76827}"/>
          </ac:spMkLst>
        </pc:spChg>
        <pc:spChg chg="mod">
          <ac:chgData name="Maureen S. Fleming" userId="55564240-5a0e-4b16-8a23-b6077a4b6df8" providerId="ADAL" clId="{A523986C-F6BF-417F-B370-76E7AC853AD0}" dt="2024-02-07T19:45:14.954" v="681" actId="1035"/>
          <ac:spMkLst>
            <pc:docMk/>
            <pc:sldMk cId="313406063" sldId="2147468903"/>
            <ac:spMk id="759" creationId="{3BADE806-97C4-C52D-6972-2F312E7D9938}"/>
          </ac:spMkLst>
        </pc:spChg>
        <pc:picChg chg="del">
          <ac:chgData name="Maureen S. Fleming" userId="55564240-5a0e-4b16-8a23-b6077a4b6df8" providerId="ADAL" clId="{A523986C-F6BF-417F-B370-76E7AC853AD0}" dt="2024-02-07T19:45:10.895" v="662" actId="478"/>
          <ac:picMkLst>
            <pc:docMk/>
            <pc:sldMk cId="313406063" sldId="2147468903"/>
            <ac:picMk id="8" creationId="{775ECF90-7B5F-593D-7C0E-3C8206913E50}"/>
          </ac:picMkLst>
        </pc:picChg>
        <pc:picChg chg="del">
          <ac:chgData name="Maureen S. Fleming" userId="55564240-5a0e-4b16-8a23-b6077a4b6df8" providerId="ADAL" clId="{A523986C-F6BF-417F-B370-76E7AC853AD0}" dt="2024-02-07T19:45:10.895" v="662" actId="478"/>
          <ac:picMkLst>
            <pc:docMk/>
            <pc:sldMk cId="313406063" sldId="2147468903"/>
            <ac:picMk id="767" creationId="{29D670B7-BDA2-A0FF-14C5-B1BDE284D8EE}"/>
          </ac:picMkLst>
        </pc:picChg>
        <pc:picChg chg="del">
          <ac:chgData name="Maureen S. Fleming" userId="55564240-5a0e-4b16-8a23-b6077a4b6df8" providerId="ADAL" clId="{A523986C-F6BF-417F-B370-76E7AC853AD0}" dt="2024-02-07T19:45:10.895" v="662" actId="478"/>
          <ac:picMkLst>
            <pc:docMk/>
            <pc:sldMk cId="313406063" sldId="2147468903"/>
            <ac:picMk id="14338" creationId="{02F9DEA1-4E6B-DC7E-23E5-8DA5E41A7FBE}"/>
          </ac:picMkLst>
        </pc:picChg>
      </pc:sldChg>
      <pc:sldChg chg="delSp modSp mod">
        <pc:chgData name="Maureen S. Fleming" userId="55564240-5a0e-4b16-8a23-b6077a4b6df8" providerId="ADAL" clId="{A523986C-F6BF-417F-B370-76E7AC853AD0}" dt="2024-02-07T19:54:54.593" v="1584" actId="1035"/>
        <pc:sldMkLst>
          <pc:docMk/>
          <pc:sldMk cId="3678232873" sldId="2147468904"/>
        </pc:sldMkLst>
        <pc:spChg chg="mod">
          <ac:chgData name="Maureen S. Fleming" userId="55564240-5a0e-4b16-8a23-b6077a4b6df8" providerId="ADAL" clId="{A523986C-F6BF-417F-B370-76E7AC853AD0}" dt="2024-02-07T19:54:54.593" v="1584" actId="1035"/>
          <ac:spMkLst>
            <pc:docMk/>
            <pc:sldMk cId="3678232873" sldId="2147468904"/>
            <ac:spMk id="14" creationId="{45CD18E2-5331-87BA-3003-2EDAC4808930}"/>
          </ac:spMkLst>
        </pc:spChg>
        <pc:spChg chg="mod">
          <ac:chgData name="Maureen S. Fleming" userId="55564240-5a0e-4b16-8a23-b6077a4b6df8" providerId="ADAL" clId="{A523986C-F6BF-417F-B370-76E7AC853AD0}" dt="2024-02-07T19:54:54.593" v="1584" actId="1035"/>
          <ac:spMkLst>
            <pc:docMk/>
            <pc:sldMk cId="3678232873" sldId="2147468904"/>
            <ac:spMk id="759" creationId="{3BADE806-97C4-C52D-6972-2F312E7D9938}"/>
          </ac:spMkLst>
        </pc:spChg>
        <pc:picChg chg="del">
          <ac:chgData name="Maureen S. Fleming" userId="55564240-5a0e-4b16-8a23-b6077a4b6df8" providerId="ADAL" clId="{A523986C-F6BF-417F-B370-76E7AC853AD0}" dt="2024-02-07T19:54:51.484" v="1569" actId="478"/>
          <ac:picMkLst>
            <pc:docMk/>
            <pc:sldMk cId="3678232873" sldId="2147468904"/>
            <ac:picMk id="3" creationId="{3228C701-BA5A-9571-6CEF-CFA5A0AB7B8F}"/>
          </ac:picMkLst>
        </pc:picChg>
        <pc:picChg chg="del">
          <ac:chgData name="Maureen S. Fleming" userId="55564240-5a0e-4b16-8a23-b6077a4b6df8" providerId="ADAL" clId="{A523986C-F6BF-417F-B370-76E7AC853AD0}" dt="2024-02-07T19:54:51.484" v="1569" actId="478"/>
          <ac:picMkLst>
            <pc:docMk/>
            <pc:sldMk cId="3678232873" sldId="2147468904"/>
            <ac:picMk id="8" creationId="{1112B5EE-6277-A413-4B40-04FDA88D2007}"/>
          </ac:picMkLst>
        </pc:picChg>
        <pc:picChg chg="del">
          <ac:chgData name="Maureen S. Fleming" userId="55564240-5a0e-4b16-8a23-b6077a4b6df8" providerId="ADAL" clId="{A523986C-F6BF-417F-B370-76E7AC853AD0}" dt="2024-02-07T19:54:51.484" v="1569" actId="478"/>
          <ac:picMkLst>
            <pc:docMk/>
            <pc:sldMk cId="3678232873" sldId="2147468904"/>
            <ac:picMk id="767" creationId="{29D670B7-BDA2-A0FF-14C5-B1BDE284D8EE}"/>
          </ac:picMkLst>
        </pc:picChg>
      </pc:sldChg>
      <pc:sldChg chg="delSp modSp mod">
        <pc:chgData name="Maureen S. Fleming" userId="55564240-5a0e-4b16-8a23-b6077a4b6df8" providerId="ADAL" clId="{A523986C-F6BF-417F-B370-76E7AC853AD0}" dt="2024-02-07T19:41:15.011" v="422" actId="1076"/>
        <pc:sldMkLst>
          <pc:docMk/>
          <pc:sldMk cId="858779424" sldId="2147468906"/>
        </pc:sldMkLst>
        <pc:spChg chg="mod">
          <ac:chgData name="Maureen S. Fleming" userId="55564240-5a0e-4b16-8a23-b6077a4b6df8" providerId="ADAL" clId="{A523986C-F6BF-417F-B370-76E7AC853AD0}" dt="2024-02-07T19:41:15.011" v="422" actId="1076"/>
          <ac:spMkLst>
            <pc:docMk/>
            <pc:sldMk cId="858779424" sldId="2147468906"/>
            <ac:spMk id="14" creationId="{D5F36D6A-22BB-A22F-D43B-D02C68B64FBD}"/>
          </ac:spMkLst>
        </pc:spChg>
        <pc:spChg chg="mod">
          <ac:chgData name="Maureen S. Fleming" userId="55564240-5a0e-4b16-8a23-b6077a4b6df8" providerId="ADAL" clId="{A523986C-F6BF-417F-B370-76E7AC853AD0}" dt="2024-02-07T19:41:15.011" v="422" actId="1076"/>
          <ac:spMkLst>
            <pc:docMk/>
            <pc:sldMk cId="858779424" sldId="2147468906"/>
            <ac:spMk id="759" creationId="{3BADE806-97C4-C52D-6972-2F312E7D9938}"/>
          </ac:spMkLst>
        </pc:spChg>
        <pc:picChg chg="del">
          <ac:chgData name="Maureen S. Fleming" userId="55564240-5a0e-4b16-8a23-b6077a4b6df8" providerId="ADAL" clId="{A523986C-F6BF-417F-B370-76E7AC853AD0}" dt="2024-02-07T19:41:11.181" v="421" actId="478"/>
          <ac:picMkLst>
            <pc:docMk/>
            <pc:sldMk cId="858779424" sldId="2147468906"/>
            <ac:picMk id="8" creationId="{0F74FB4F-E028-2845-E2B2-02D73B3EEF97}"/>
          </ac:picMkLst>
        </pc:picChg>
        <pc:picChg chg="del">
          <ac:chgData name="Maureen S. Fleming" userId="55564240-5a0e-4b16-8a23-b6077a4b6df8" providerId="ADAL" clId="{A523986C-F6BF-417F-B370-76E7AC853AD0}" dt="2024-02-07T19:41:11.181" v="421" actId="478"/>
          <ac:picMkLst>
            <pc:docMk/>
            <pc:sldMk cId="858779424" sldId="2147468906"/>
            <ac:picMk id="12" creationId="{C13F5D63-C3A9-DEA1-CDA0-387E988681DB}"/>
          </ac:picMkLst>
        </pc:picChg>
        <pc:picChg chg="del">
          <ac:chgData name="Maureen S. Fleming" userId="55564240-5a0e-4b16-8a23-b6077a4b6df8" providerId="ADAL" clId="{A523986C-F6BF-417F-B370-76E7AC853AD0}" dt="2024-02-07T19:41:11.181" v="421" actId="478"/>
          <ac:picMkLst>
            <pc:docMk/>
            <pc:sldMk cId="858779424" sldId="2147468906"/>
            <ac:picMk id="767" creationId="{29D670B7-BDA2-A0FF-14C5-B1BDE284D8EE}"/>
          </ac:picMkLst>
        </pc:picChg>
      </pc:sldChg>
      <pc:sldChg chg="delSp modSp mod">
        <pc:chgData name="Maureen S. Fleming" userId="55564240-5a0e-4b16-8a23-b6077a4b6df8" providerId="ADAL" clId="{A523986C-F6BF-417F-B370-76E7AC853AD0}" dt="2024-02-07T19:57:56.328" v="1626" actId="1076"/>
        <pc:sldMkLst>
          <pc:docMk/>
          <pc:sldMk cId="3949028895" sldId="2147468907"/>
        </pc:sldMkLst>
        <pc:spChg chg="mod">
          <ac:chgData name="Maureen S. Fleming" userId="55564240-5a0e-4b16-8a23-b6077a4b6df8" providerId="ADAL" clId="{A523986C-F6BF-417F-B370-76E7AC853AD0}" dt="2024-02-07T19:57:56.328" v="1626" actId="1076"/>
          <ac:spMkLst>
            <pc:docMk/>
            <pc:sldMk cId="3949028895" sldId="2147468907"/>
            <ac:spMk id="2" creationId="{6901DE6F-77C1-A23B-B70C-87C9D65E011D}"/>
          </ac:spMkLst>
        </pc:spChg>
        <pc:spChg chg="mod">
          <ac:chgData name="Maureen S. Fleming" userId="55564240-5a0e-4b16-8a23-b6077a4b6df8" providerId="ADAL" clId="{A523986C-F6BF-417F-B370-76E7AC853AD0}" dt="2024-02-07T19:36:19.729" v="57" actId="1035"/>
          <ac:spMkLst>
            <pc:docMk/>
            <pc:sldMk cId="3949028895" sldId="2147468907"/>
            <ac:spMk id="14" creationId="{09B6C1D1-A5A6-7BBC-A93C-4B1FE164696A}"/>
          </ac:spMkLst>
        </pc:spChg>
        <pc:spChg chg="mod">
          <ac:chgData name="Maureen S. Fleming" userId="55564240-5a0e-4b16-8a23-b6077a4b6df8" providerId="ADAL" clId="{A523986C-F6BF-417F-B370-76E7AC853AD0}" dt="2024-02-07T19:57:51.870" v="1625" actId="1076"/>
          <ac:spMkLst>
            <pc:docMk/>
            <pc:sldMk cId="3949028895" sldId="2147468907"/>
            <ac:spMk id="751" creationId="{3D178A78-CD9B-9B57-381E-6C79E4F668FB}"/>
          </ac:spMkLst>
        </pc:spChg>
        <pc:spChg chg="mod">
          <ac:chgData name="Maureen S. Fleming" userId="55564240-5a0e-4b16-8a23-b6077a4b6df8" providerId="ADAL" clId="{A523986C-F6BF-417F-B370-76E7AC853AD0}" dt="2024-02-07T19:36:19.729" v="57" actId="1035"/>
          <ac:spMkLst>
            <pc:docMk/>
            <pc:sldMk cId="3949028895" sldId="2147468907"/>
            <ac:spMk id="759" creationId="{3BADE806-97C4-C52D-6972-2F312E7D9938}"/>
          </ac:spMkLst>
        </pc:spChg>
        <pc:picChg chg="del">
          <ac:chgData name="Maureen S. Fleming" userId="55564240-5a0e-4b16-8a23-b6077a4b6df8" providerId="ADAL" clId="{A523986C-F6BF-417F-B370-76E7AC853AD0}" dt="2024-02-07T19:35:11.064" v="0" actId="478"/>
          <ac:picMkLst>
            <pc:docMk/>
            <pc:sldMk cId="3949028895" sldId="2147468907"/>
            <ac:picMk id="3" creationId="{B211460D-D2D4-060A-2D86-34D80A831746}"/>
          </ac:picMkLst>
        </pc:picChg>
        <pc:picChg chg="del">
          <ac:chgData name="Maureen S. Fleming" userId="55564240-5a0e-4b16-8a23-b6077a4b6df8" providerId="ADAL" clId="{A523986C-F6BF-417F-B370-76E7AC853AD0}" dt="2024-02-07T19:35:11.064" v="0" actId="478"/>
          <ac:picMkLst>
            <pc:docMk/>
            <pc:sldMk cId="3949028895" sldId="2147468907"/>
            <ac:picMk id="8" creationId="{6A1EFF4D-B895-4BEA-6AEE-E457916F87CE}"/>
          </ac:picMkLst>
        </pc:picChg>
        <pc:picChg chg="del">
          <ac:chgData name="Maureen S. Fleming" userId="55564240-5a0e-4b16-8a23-b6077a4b6df8" providerId="ADAL" clId="{A523986C-F6BF-417F-B370-76E7AC853AD0}" dt="2024-02-07T19:35:11.064" v="0" actId="478"/>
          <ac:picMkLst>
            <pc:docMk/>
            <pc:sldMk cId="3949028895" sldId="2147468907"/>
            <ac:picMk id="767" creationId="{29D670B7-BDA2-A0FF-14C5-B1BDE284D8EE}"/>
          </ac:picMkLst>
        </pc:picChg>
      </pc:sldChg>
      <pc:sldChg chg="delSp modSp mod">
        <pc:chgData name="Maureen S. Fleming" userId="55564240-5a0e-4b16-8a23-b6077a4b6df8" providerId="ADAL" clId="{A523986C-F6BF-417F-B370-76E7AC853AD0}" dt="2024-02-07T19:41:26.862" v="442" actId="1035"/>
        <pc:sldMkLst>
          <pc:docMk/>
          <pc:sldMk cId="472951147" sldId="2147468908"/>
        </pc:sldMkLst>
        <pc:spChg chg="mod">
          <ac:chgData name="Maureen S. Fleming" userId="55564240-5a0e-4b16-8a23-b6077a4b6df8" providerId="ADAL" clId="{A523986C-F6BF-417F-B370-76E7AC853AD0}" dt="2024-02-07T19:41:26.862" v="442" actId="1035"/>
          <ac:spMkLst>
            <pc:docMk/>
            <pc:sldMk cId="472951147" sldId="2147468908"/>
            <ac:spMk id="14" creationId="{27ED1D3E-4DF9-C9F8-23B1-8C9CD0B5147A}"/>
          </ac:spMkLst>
        </pc:spChg>
        <pc:spChg chg="mod">
          <ac:chgData name="Maureen S. Fleming" userId="55564240-5a0e-4b16-8a23-b6077a4b6df8" providerId="ADAL" clId="{A523986C-F6BF-417F-B370-76E7AC853AD0}" dt="2024-02-07T19:41:26.862" v="442" actId="1035"/>
          <ac:spMkLst>
            <pc:docMk/>
            <pc:sldMk cId="472951147" sldId="2147468908"/>
            <ac:spMk id="759" creationId="{3BADE806-97C4-C52D-6972-2F312E7D9938}"/>
          </ac:spMkLst>
        </pc:spChg>
        <pc:picChg chg="del">
          <ac:chgData name="Maureen S. Fleming" userId="55564240-5a0e-4b16-8a23-b6077a4b6df8" providerId="ADAL" clId="{A523986C-F6BF-417F-B370-76E7AC853AD0}" dt="2024-02-07T19:41:20.262" v="423" actId="478"/>
          <ac:picMkLst>
            <pc:docMk/>
            <pc:sldMk cId="472951147" sldId="2147468908"/>
            <ac:picMk id="8" creationId="{53E7F5D4-878C-98EB-EBA2-E4808DC9912D}"/>
          </ac:picMkLst>
        </pc:picChg>
        <pc:picChg chg="del">
          <ac:chgData name="Maureen S. Fleming" userId="55564240-5a0e-4b16-8a23-b6077a4b6df8" providerId="ADAL" clId="{A523986C-F6BF-417F-B370-76E7AC853AD0}" dt="2024-02-07T19:41:20.262" v="423" actId="478"/>
          <ac:picMkLst>
            <pc:docMk/>
            <pc:sldMk cId="472951147" sldId="2147468908"/>
            <ac:picMk id="12" creationId="{FE45BC53-774E-2346-C09C-8A5B1ADFF521}"/>
          </ac:picMkLst>
        </pc:picChg>
        <pc:picChg chg="del">
          <ac:chgData name="Maureen S. Fleming" userId="55564240-5a0e-4b16-8a23-b6077a4b6df8" providerId="ADAL" clId="{A523986C-F6BF-417F-B370-76E7AC853AD0}" dt="2024-02-07T19:41:20.262" v="423" actId="478"/>
          <ac:picMkLst>
            <pc:docMk/>
            <pc:sldMk cId="472951147" sldId="2147468908"/>
            <ac:picMk id="767" creationId="{29D670B7-BDA2-A0FF-14C5-B1BDE284D8EE}"/>
          </ac:picMkLst>
        </pc:picChg>
      </pc:sldChg>
      <pc:sldChg chg="delSp modSp mod">
        <pc:chgData name="Maureen S. Fleming" userId="55564240-5a0e-4b16-8a23-b6077a4b6df8" providerId="ADAL" clId="{A523986C-F6BF-417F-B370-76E7AC853AD0}" dt="2024-02-07T19:37:44.965" v="112" actId="1035"/>
        <pc:sldMkLst>
          <pc:docMk/>
          <pc:sldMk cId="2016685746" sldId="2147468909"/>
        </pc:sldMkLst>
        <pc:spChg chg="mod">
          <ac:chgData name="Maureen S. Fleming" userId="55564240-5a0e-4b16-8a23-b6077a4b6df8" providerId="ADAL" clId="{A523986C-F6BF-417F-B370-76E7AC853AD0}" dt="2024-02-07T19:37:44.965" v="112" actId="1035"/>
          <ac:spMkLst>
            <pc:docMk/>
            <pc:sldMk cId="2016685746" sldId="2147468909"/>
            <ac:spMk id="14" creationId="{9A7C3842-92E6-588A-8424-27E05B94D18E}"/>
          </ac:spMkLst>
        </pc:spChg>
        <pc:spChg chg="mod">
          <ac:chgData name="Maureen S. Fleming" userId="55564240-5a0e-4b16-8a23-b6077a4b6df8" providerId="ADAL" clId="{A523986C-F6BF-417F-B370-76E7AC853AD0}" dt="2024-02-07T19:37:44.965" v="112" actId="1035"/>
          <ac:spMkLst>
            <pc:docMk/>
            <pc:sldMk cId="2016685746" sldId="2147468909"/>
            <ac:spMk id="759" creationId="{3BADE806-97C4-C52D-6972-2F312E7D9938}"/>
          </ac:spMkLst>
        </pc:spChg>
        <pc:picChg chg="del">
          <ac:chgData name="Maureen S. Fleming" userId="55564240-5a0e-4b16-8a23-b6077a4b6df8" providerId="ADAL" clId="{A523986C-F6BF-417F-B370-76E7AC853AD0}" dt="2024-02-07T19:37:40.184" v="98" actId="478"/>
          <ac:picMkLst>
            <pc:docMk/>
            <pc:sldMk cId="2016685746" sldId="2147468909"/>
            <ac:picMk id="8" creationId="{9D8EF060-4EE0-4F18-B5E9-CDB3D79B3ED5}"/>
          </ac:picMkLst>
        </pc:picChg>
        <pc:picChg chg="del">
          <ac:chgData name="Maureen S. Fleming" userId="55564240-5a0e-4b16-8a23-b6077a4b6df8" providerId="ADAL" clId="{A523986C-F6BF-417F-B370-76E7AC853AD0}" dt="2024-02-07T19:37:40.184" v="98" actId="478"/>
          <ac:picMkLst>
            <pc:docMk/>
            <pc:sldMk cId="2016685746" sldId="2147468909"/>
            <ac:picMk id="12" creationId="{E983F6DB-D9A1-5CBB-D60F-90093B1CBC77}"/>
          </ac:picMkLst>
        </pc:picChg>
        <pc:picChg chg="del">
          <ac:chgData name="Maureen S. Fleming" userId="55564240-5a0e-4b16-8a23-b6077a4b6df8" providerId="ADAL" clId="{A523986C-F6BF-417F-B370-76E7AC853AD0}" dt="2024-02-07T19:37:40.184" v="98" actId="478"/>
          <ac:picMkLst>
            <pc:docMk/>
            <pc:sldMk cId="2016685746" sldId="2147468909"/>
            <ac:picMk id="767" creationId="{29D670B7-BDA2-A0FF-14C5-B1BDE284D8EE}"/>
          </ac:picMkLst>
        </pc:picChg>
      </pc:sldChg>
      <pc:sldChg chg="delSp modSp mod">
        <pc:chgData name="Maureen S. Fleming" userId="55564240-5a0e-4b16-8a23-b6077a4b6df8" providerId="ADAL" clId="{A523986C-F6BF-417F-B370-76E7AC853AD0}" dt="2024-02-07T19:38:44.778" v="216" actId="1036"/>
        <pc:sldMkLst>
          <pc:docMk/>
          <pc:sldMk cId="2184222418" sldId="2147468910"/>
        </pc:sldMkLst>
        <pc:spChg chg="mod">
          <ac:chgData name="Maureen S. Fleming" userId="55564240-5a0e-4b16-8a23-b6077a4b6df8" providerId="ADAL" clId="{A523986C-F6BF-417F-B370-76E7AC853AD0}" dt="2024-02-07T19:38:44.778" v="216" actId="1036"/>
          <ac:spMkLst>
            <pc:docMk/>
            <pc:sldMk cId="2184222418" sldId="2147468910"/>
            <ac:spMk id="14" creationId="{FDEF9B7E-7FD8-FF7C-6962-F599E54C4665}"/>
          </ac:spMkLst>
        </pc:spChg>
        <pc:spChg chg="mod">
          <ac:chgData name="Maureen S. Fleming" userId="55564240-5a0e-4b16-8a23-b6077a4b6df8" providerId="ADAL" clId="{A523986C-F6BF-417F-B370-76E7AC853AD0}" dt="2024-02-07T19:38:44.778" v="216" actId="1036"/>
          <ac:spMkLst>
            <pc:docMk/>
            <pc:sldMk cId="2184222418" sldId="2147468910"/>
            <ac:spMk id="759" creationId="{3BADE806-97C4-C52D-6972-2F312E7D9938}"/>
          </ac:spMkLst>
        </pc:spChg>
        <pc:picChg chg="del">
          <ac:chgData name="Maureen S. Fleming" userId="55564240-5a0e-4b16-8a23-b6077a4b6df8" providerId="ADAL" clId="{A523986C-F6BF-417F-B370-76E7AC853AD0}" dt="2024-02-07T19:38:40.149" v="199" actId="478"/>
          <ac:picMkLst>
            <pc:docMk/>
            <pc:sldMk cId="2184222418" sldId="2147468910"/>
            <ac:picMk id="8" creationId="{EF98BD5F-A52B-5964-06BF-B3E9030E7D4F}"/>
          </ac:picMkLst>
        </pc:picChg>
        <pc:picChg chg="del">
          <ac:chgData name="Maureen S. Fleming" userId="55564240-5a0e-4b16-8a23-b6077a4b6df8" providerId="ADAL" clId="{A523986C-F6BF-417F-B370-76E7AC853AD0}" dt="2024-02-07T19:38:40.149" v="199" actId="478"/>
          <ac:picMkLst>
            <pc:docMk/>
            <pc:sldMk cId="2184222418" sldId="2147468910"/>
            <ac:picMk id="12" creationId="{E3A6AD26-E8CD-F696-62D5-DAD6D2BD5C5E}"/>
          </ac:picMkLst>
        </pc:picChg>
        <pc:picChg chg="del">
          <ac:chgData name="Maureen S. Fleming" userId="55564240-5a0e-4b16-8a23-b6077a4b6df8" providerId="ADAL" clId="{A523986C-F6BF-417F-B370-76E7AC853AD0}" dt="2024-02-07T19:38:40.149" v="199" actId="478"/>
          <ac:picMkLst>
            <pc:docMk/>
            <pc:sldMk cId="2184222418" sldId="2147468910"/>
            <ac:picMk id="767" creationId="{29D670B7-BDA2-A0FF-14C5-B1BDE284D8EE}"/>
          </ac:picMkLst>
        </pc:picChg>
      </pc:sldChg>
      <pc:sldChg chg="delSp modSp mod">
        <pc:chgData name="Maureen S. Fleming" userId="55564240-5a0e-4b16-8a23-b6077a4b6df8" providerId="ADAL" clId="{A523986C-F6BF-417F-B370-76E7AC853AD0}" dt="2024-02-07T19:37:53.688" v="128" actId="1035"/>
        <pc:sldMkLst>
          <pc:docMk/>
          <pc:sldMk cId="1554375173" sldId="2147468911"/>
        </pc:sldMkLst>
        <pc:spChg chg="mod">
          <ac:chgData name="Maureen S. Fleming" userId="55564240-5a0e-4b16-8a23-b6077a4b6df8" providerId="ADAL" clId="{A523986C-F6BF-417F-B370-76E7AC853AD0}" dt="2024-02-07T19:37:53.688" v="128" actId="1035"/>
          <ac:spMkLst>
            <pc:docMk/>
            <pc:sldMk cId="1554375173" sldId="2147468911"/>
            <ac:spMk id="14" creationId="{BFC0AFF0-506D-14AB-F317-AD77E1A68812}"/>
          </ac:spMkLst>
        </pc:spChg>
        <pc:spChg chg="mod">
          <ac:chgData name="Maureen S. Fleming" userId="55564240-5a0e-4b16-8a23-b6077a4b6df8" providerId="ADAL" clId="{A523986C-F6BF-417F-B370-76E7AC853AD0}" dt="2024-02-07T19:37:53.688" v="128" actId="1035"/>
          <ac:spMkLst>
            <pc:docMk/>
            <pc:sldMk cId="1554375173" sldId="2147468911"/>
            <ac:spMk id="759" creationId="{3BADE806-97C4-C52D-6972-2F312E7D9938}"/>
          </ac:spMkLst>
        </pc:spChg>
        <pc:picChg chg="del">
          <ac:chgData name="Maureen S. Fleming" userId="55564240-5a0e-4b16-8a23-b6077a4b6df8" providerId="ADAL" clId="{A523986C-F6BF-417F-B370-76E7AC853AD0}" dt="2024-02-07T19:37:49.129" v="113" actId="478"/>
          <ac:picMkLst>
            <pc:docMk/>
            <pc:sldMk cId="1554375173" sldId="2147468911"/>
            <ac:picMk id="8" creationId="{75607543-74FF-32BC-FA1C-6757B2EF6FDB}"/>
          </ac:picMkLst>
        </pc:picChg>
        <pc:picChg chg="del">
          <ac:chgData name="Maureen S. Fleming" userId="55564240-5a0e-4b16-8a23-b6077a4b6df8" providerId="ADAL" clId="{A523986C-F6BF-417F-B370-76E7AC853AD0}" dt="2024-02-07T19:37:49.129" v="113" actId="478"/>
          <ac:picMkLst>
            <pc:docMk/>
            <pc:sldMk cId="1554375173" sldId="2147468911"/>
            <ac:picMk id="12" creationId="{BB5D0533-3AC2-4081-D785-47EACBC6AAB3}"/>
          </ac:picMkLst>
        </pc:picChg>
        <pc:picChg chg="del">
          <ac:chgData name="Maureen S. Fleming" userId="55564240-5a0e-4b16-8a23-b6077a4b6df8" providerId="ADAL" clId="{A523986C-F6BF-417F-B370-76E7AC853AD0}" dt="2024-02-07T19:37:49.129" v="113" actId="478"/>
          <ac:picMkLst>
            <pc:docMk/>
            <pc:sldMk cId="1554375173" sldId="2147468911"/>
            <ac:picMk id="767" creationId="{29D670B7-BDA2-A0FF-14C5-B1BDE284D8EE}"/>
          </ac:picMkLst>
        </pc:picChg>
      </pc:sldChg>
      <pc:sldChg chg="delSp modSp mod">
        <pc:chgData name="Maureen S. Fleming" userId="55564240-5a0e-4b16-8a23-b6077a4b6df8" providerId="ADAL" clId="{A523986C-F6BF-417F-B370-76E7AC853AD0}" dt="2024-02-07T19:47:08.839" v="886" actId="1035"/>
        <pc:sldMkLst>
          <pc:docMk/>
          <pc:sldMk cId="4268936896" sldId="2147468912"/>
        </pc:sldMkLst>
        <pc:spChg chg="mod">
          <ac:chgData name="Maureen S. Fleming" userId="55564240-5a0e-4b16-8a23-b6077a4b6df8" providerId="ADAL" clId="{A523986C-F6BF-417F-B370-76E7AC853AD0}" dt="2024-02-07T19:47:08.839" v="886" actId="1035"/>
          <ac:spMkLst>
            <pc:docMk/>
            <pc:sldMk cId="4268936896" sldId="2147468912"/>
            <ac:spMk id="3" creationId="{B3774D0F-EE63-B249-940C-D5B0853650F6}"/>
          </ac:spMkLst>
        </pc:spChg>
        <pc:spChg chg="mod">
          <ac:chgData name="Maureen S. Fleming" userId="55564240-5a0e-4b16-8a23-b6077a4b6df8" providerId="ADAL" clId="{A523986C-F6BF-417F-B370-76E7AC853AD0}" dt="2024-02-07T19:47:08.839" v="886" actId="1035"/>
          <ac:spMkLst>
            <pc:docMk/>
            <pc:sldMk cId="4268936896" sldId="2147468912"/>
            <ac:spMk id="759" creationId="{3BADE806-97C4-C52D-6972-2F312E7D9938}"/>
          </ac:spMkLst>
        </pc:spChg>
        <pc:picChg chg="del">
          <ac:chgData name="Maureen S. Fleming" userId="55564240-5a0e-4b16-8a23-b6077a4b6df8" providerId="ADAL" clId="{A523986C-F6BF-417F-B370-76E7AC853AD0}" dt="2024-02-07T19:47:04.762" v="872" actId="478"/>
          <ac:picMkLst>
            <pc:docMk/>
            <pc:sldMk cId="4268936896" sldId="2147468912"/>
            <ac:picMk id="14" creationId="{F9281798-F193-3C5B-7AC3-CCDCF278687E}"/>
          </ac:picMkLst>
        </pc:picChg>
        <pc:picChg chg="del">
          <ac:chgData name="Maureen S. Fleming" userId="55564240-5a0e-4b16-8a23-b6077a4b6df8" providerId="ADAL" clId="{A523986C-F6BF-417F-B370-76E7AC853AD0}" dt="2024-02-07T19:47:04.762" v="872" actId="478"/>
          <ac:picMkLst>
            <pc:docMk/>
            <pc:sldMk cId="4268936896" sldId="2147468912"/>
            <ac:picMk id="15" creationId="{891C21A1-71F1-EA5C-0FAE-D70EDA43C921}"/>
          </ac:picMkLst>
        </pc:picChg>
        <pc:picChg chg="del">
          <ac:chgData name="Maureen S. Fleming" userId="55564240-5a0e-4b16-8a23-b6077a4b6df8" providerId="ADAL" clId="{A523986C-F6BF-417F-B370-76E7AC853AD0}" dt="2024-02-07T19:47:04.762" v="872" actId="478"/>
          <ac:picMkLst>
            <pc:docMk/>
            <pc:sldMk cId="4268936896" sldId="2147468912"/>
            <ac:picMk id="767" creationId="{29D670B7-BDA2-A0FF-14C5-B1BDE284D8EE}"/>
          </ac:picMkLst>
        </pc:picChg>
      </pc:sldChg>
      <pc:sldChg chg="delSp modSp mod">
        <pc:chgData name="Maureen S. Fleming" userId="55564240-5a0e-4b16-8a23-b6077a4b6df8" providerId="ADAL" clId="{A523986C-F6BF-417F-B370-76E7AC853AD0}" dt="2024-02-07T19:38:00.563" v="144" actId="1035"/>
        <pc:sldMkLst>
          <pc:docMk/>
          <pc:sldMk cId="3092949193" sldId="2147468913"/>
        </pc:sldMkLst>
        <pc:spChg chg="mod">
          <ac:chgData name="Maureen S. Fleming" userId="55564240-5a0e-4b16-8a23-b6077a4b6df8" providerId="ADAL" clId="{A523986C-F6BF-417F-B370-76E7AC853AD0}" dt="2024-02-07T19:38:00.563" v="144" actId="1035"/>
          <ac:spMkLst>
            <pc:docMk/>
            <pc:sldMk cId="3092949193" sldId="2147468913"/>
            <ac:spMk id="15" creationId="{A1151290-72B1-A1A7-C178-1C07009D8563}"/>
          </ac:spMkLst>
        </pc:spChg>
        <pc:spChg chg="mod">
          <ac:chgData name="Maureen S. Fleming" userId="55564240-5a0e-4b16-8a23-b6077a4b6df8" providerId="ADAL" clId="{A523986C-F6BF-417F-B370-76E7AC853AD0}" dt="2024-02-07T19:38:00.563" v="144" actId="1035"/>
          <ac:spMkLst>
            <pc:docMk/>
            <pc:sldMk cId="3092949193" sldId="2147468913"/>
            <ac:spMk id="759" creationId="{3BADE806-97C4-C52D-6972-2F312E7D9938}"/>
          </ac:spMkLst>
        </pc:spChg>
        <pc:picChg chg="del">
          <ac:chgData name="Maureen S. Fleming" userId="55564240-5a0e-4b16-8a23-b6077a4b6df8" providerId="ADAL" clId="{A523986C-F6BF-417F-B370-76E7AC853AD0}" dt="2024-02-07T19:37:57.221" v="129" actId="478"/>
          <ac:picMkLst>
            <pc:docMk/>
            <pc:sldMk cId="3092949193" sldId="2147468913"/>
            <ac:picMk id="8" creationId="{F99651F3-9E8C-D8C3-1AE3-01E878D51D93}"/>
          </ac:picMkLst>
        </pc:picChg>
        <pc:picChg chg="del">
          <ac:chgData name="Maureen S. Fleming" userId="55564240-5a0e-4b16-8a23-b6077a4b6df8" providerId="ADAL" clId="{A523986C-F6BF-417F-B370-76E7AC853AD0}" dt="2024-02-07T19:37:57.221" v="129" actId="478"/>
          <ac:picMkLst>
            <pc:docMk/>
            <pc:sldMk cId="3092949193" sldId="2147468913"/>
            <ac:picMk id="16" creationId="{20826BFE-0DC4-6634-2B7F-60E4BC4AF28E}"/>
          </ac:picMkLst>
        </pc:picChg>
        <pc:picChg chg="del">
          <ac:chgData name="Maureen S. Fleming" userId="55564240-5a0e-4b16-8a23-b6077a4b6df8" providerId="ADAL" clId="{A523986C-F6BF-417F-B370-76E7AC853AD0}" dt="2024-02-07T19:37:57.221" v="129" actId="478"/>
          <ac:picMkLst>
            <pc:docMk/>
            <pc:sldMk cId="3092949193" sldId="2147468913"/>
            <ac:picMk id="17" creationId="{A7E0A131-F1D2-4252-4219-BC9B54EF5EEC}"/>
          </ac:picMkLst>
        </pc:picChg>
      </pc:sldChg>
      <pc:sldChg chg="delSp modSp mod">
        <pc:chgData name="Maureen S. Fleming" userId="55564240-5a0e-4b16-8a23-b6077a4b6df8" providerId="ADAL" clId="{A523986C-F6BF-417F-B370-76E7AC853AD0}" dt="2024-02-07T19:38:08.381" v="159" actId="1035"/>
        <pc:sldMkLst>
          <pc:docMk/>
          <pc:sldMk cId="3004861192" sldId="2147468914"/>
        </pc:sldMkLst>
        <pc:spChg chg="mod">
          <ac:chgData name="Maureen S. Fleming" userId="55564240-5a0e-4b16-8a23-b6077a4b6df8" providerId="ADAL" clId="{A523986C-F6BF-417F-B370-76E7AC853AD0}" dt="2024-02-07T19:38:08.381" v="159" actId="1035"/>
          <ac:spMkLst>
            <pc:docMk/>
            <pc:sldMk cId="3004861192" sldId="2147468914"/>
            <ac:spMk id="14" creationId="{70A52B3A-94D8-CB44-C687-8A5D6E11B100}"/>
          </ac:spMkLst>
        </pc:spChg>
        <pc:spChg chg="mod">
          <ac:chgData name="Maureen S. Fleming" userId="55564240-5a0e-4b16-8a23-b6077a4b6df8" providerId="ADAL" clId="{A523986C-F6BF-417F-B370-76E7AC853AD0}" dt="2024-02-07T19:38:08.381" v="159" actId="1035"/>
          <ac:spMkLst>
            <pc:docMk/>
            <pc:sldMk cId="3004861192" sldId="2147468914"/>
            <ac:spMk id="759" creationId="{3BADE806-97C4-C52D-6972-2F312E7D9938}"/>
          </ac:spMkLst>
        </pc:spChg>
        <pc:picChg chg="del">
          <ac:chgData name="Maureen S. Fleming" userId="55564240-5a0e-4b16-8a23-b6077a4b6df8" providerId="ADAL" clId="{A523986C-F6BF-417F-B370-76E7AC853AD0}" dt="2024-02-07T19:38:04.614" v="145" actId="478"/>
          <ac:picMkLst>
            <pc:docMk/>
            <pc:sldMk cId="3004861192" sldId="2147468914"/>
            <ac:picMk id="8" creationId="{F6E7036A-B821-649B-B500-3AD87E5D97F3}"/>
          </ac:picMkLst>
        </pc:picChg>
        <pc:picChg chg="del">
          <ac:chgData name="Maureen S. Fleming" userId="55564240-5a0e-4b16-8a23-b6077a4b6df8" providerId="ADAL" clId="{A523986C-F6BF-417F-B370-76E7AC853AD0}" dt="2024-02-07T19:38:04.614" v="145" actId="478"/>
          <ac:picMkLst>
            <pc:docMk/>
            <pc:sldMk cId="3004861192" sldId="2147468914"/>
            <ac:picMk id="12" creationId="{F5E12CD0-1390-0649-1CFA-D5EC6FDEEDBD}"/>
          </ac:picMkLst>
        </pc:picChg>
        <pc:picChg chg="del">
          <ac:chgData name="Maureen S. Fleming" userId="55564240-5a0e-4b16-8a23-b6077a4b6df8" providerId="ADAL" clId="{A523986C-F6BF-417F-B370-76E7AC853AD0}" dt="2024-02-07T19:38:04.614" v="145" actId="478"/>
          <ac:picMkLst>
            <pc:docMk/>
            <pc:sldMk cId="3004861192" sldId="2147468914"/>
            <ac:picMk id="767" creationId="{29D670B7-BDA2-A0FF-14C5-B1BDE284D8EE}"/>
          </ac:picMkLst>
        </pc:picChg>
      </pc:sldChg>
      <pc:sldChg chg="delSp modSp mod">
        <pc:chgData name="Maureen S. Fleming" userId="55564240-5a0e-4b16-8a23-b6077a4b6df8" providerId="ADAL" clId="{A523986C-F6BF-417F-B370-76E7AC853AD0}" dt="2024-02-07T19:46:18.662" v="798" actId="1035"/>
        <pc:sldMkLst>
          <pc:docMk/>
          <pc:sldMk cId="102752066" sldId="2147468915"/>
        </pc:sldMkLst>
        <pc:spChg chg="mod">
          <ac:chgData name="Maureen S. Fleming" userId="55564240-5a0e-4b16-8a23-b6077a4b6df8" providerId="ADAL" clId="{A523986C-F6BF-417F-B370-76E7AC853AD0}" dt="2024-02-07T19:46:18.662" v="798" actId="1035"/>
          <ac:spMkLst>
            <pc:docMk/>
            <pc:sldMk cId="102752066" sldId="2147468915"/>
            <ac:spMk id="759" creationId="{3BADE806-97C4-C52D-6972-2F312E7D9938}"/>
          </ac:spMkLst>
        </pc:spChg>
        <pc:spChg chg="mod">
          <ac:chgData name="Maureen S. Fleming" userId="55564240-5a0e-4b16-8a23-b6077a4b6df8" providerId="ADAL" clId="{A523986C-F6BF-417F-B370-76E7AC853AD0}" dt="2024-02-07T19:46:18.662" v="798" actId="1035"/>
          <ac:spMkLst>
            <pc:docMk/>
            <pc:sldMk cId="102752066" sldId="2147468915"/>
            <ac:spMk id="760" creationId="{16F0A96B-3D1E-E8DF-AC52-46F2C43A756E}"/>
          </ac:spMkLst>
        </pc:spChg>
        <pc:picChg chg="del">
          <ac:chgData name="Maureen S. Fleming" userId="55564240-5a0e-4b16-8a23-b6077a4b6df8" providerId="ADAL" clId="{A523986C-F6BF-417F-B370-76E7AC853AD0}" dt="2024-02-07T19:46:15.098" v="782" actId="478"/>
          <ac:picMkLst>
            <pc:docMk/>
            <pc:sldMk cId="102752066" sldId="2147468915"/>
            <ac:picMk id="8" creationId="{8DC66B73-821D-18BF-2264-5C0012A9B54E}"/>
          </ac:picMkLst>
        </pc:picChg>
        <pc:picChg chg="del">
          <ac:chgData name="Maureen S. Fleming" userId="55564240-5a0e-4b16-8a23-b6077a4b6df8" providerId="ADAL" clId="{A523986C-F6BF-417F-B370-76E7AC853AD0}" dt="2024-02-07T19:46:15.098" v="782" actId="478"/>
          <ac:picMkLst>
            <pc:docMk/>
            <pc:sldMk cId="102752066" sldId="2147468915"/>
            <ac:picMk id="767" creationId="{29D670B7-BDA2-A0FF-14C5-B1BDE284D8EE}"/>
          </ac:picMkLst>
        </pc:picChg>
        <pc:picChg chg="del">
          <ac:chgData name="Maureen S. Fleming" userId="55564240-5a0e-4b16-8a23-b6077a4b6df8" providerId="ADAL" clId="{A523986C-F6BF-417F-B370-76E7AC853AD0}" dt="2024-02-07T19:46:15.098" v="782" actId="478"/>
          <ac:picMkLst>
            <pc:docMk/>
            <pc:sldMk cId="102752066" sldId="2147468915"/>
            <ac:picMk id="1026" creationId="{91BADC15-A1EF-DC06-C5EF-D39F1A22052A}"/>
          </ac:picMkLst>
        </pc:picChg>
      </pc:sldChg>
      <pc:sldChg chg="delSp modSp mod">
        <pc:chgData name="Maureen S. Fleming" userId="55564240-5a0e-4b16-8a23-b6077a4b6df8" providerId="ADAL" clId="{A523986C-F6BF-417F-B370-76E7AC853AD0}" dt="2024-02-07T19:48:26.545" v="1051" actId="1035"/>
        <pc:sldMkLst>
          <pc:docMk/>
          <pc:sldMk cId="1558548121" sldId="2147468916"/>
        </pc:sldMkLst>
        <pc:spChg chg="mod">
          <ac:chgData name="Maureen S. Fleming" userId="55564240-5a0e-4b16-8a23-b6077a4b6df8" providerId="ADAL" clId="{A523986C-F6BF-417F-B370-76E7AC853AD0}" dt="2024-02-07T19:48:26.545" v="1051" actId="1035"/>
          <ac:spMkLst>
            <pc:docMk/>
            <pc:sldMk cId="1558548121" sldId="2147468916"/>
            <ac:spMk id="12" creationId="{912DC3D6-505F-8D92-A6AF-E338CBC27D7C}"/>
          </ac:spMkLst>
        </pc:spChg>
        <pc:spChg chg="mod">
          <ac:chgData name="Maureen S. Fleming" userId="55564240-5a0e-4b16-8a23-b6077a4b6df8" providerId="ADAL" clId="{A523986C-F6BF-417F-B370-76E7AC853AD0}" dt="2024-02-07T19:48:26.545" v="1051" actId="1035"/>
          <ac:spMkLst>
            <pc:docMk/>
            <pc:sldMk cId="1558548121" sldId="2147468916"/>
            <ac:spMk id="759" creationId="{3BADE806-97C4-C52D-6972-2F312E7D9938}"/>
          </ac:spMkLst>
        </pc:spChg>
        <pc:picChg chg="del">
          <ac:chgData name="Maureen S. Fleming" userId="55564240-5a0e-4b16-8a23-b6077a4b6df8" providerId="ADAL" clId="{A523986C-F6BF-417F-B370-76E7AC853AD0}" dt="2024-02-07T19:48:23.369" v="1034" actId="478"/>
          <ac:picMkLst>
            <pc:docMk/>
            <pc:sldMk cId="1558548121" sldId="2147468916"/>
            <ac:picMk id="8" creationId="{95B90AC9-B2A2-583B-BDF4-6257CD1B22FE}"/>
          </ac:picMkLst>
        </pc:picChg>
        <pc:picChg chg="del">
          <ac:chgData name="Maureen S. Fleming" userId="55564240-5a0e-4b16-8a23-b6077a4b6df8" providerId="ADAL" clId="{A523986C-F6BF-417F-B370-76E7AC853AD0}" dt="2024-02-07T19:48:23.369" v="1034" actId="478"/>
          <ac:picMkLst>
            <pc:docMk/>
            <pc:sldMk cId="1558548121" sldId="2147468916"/>
            <ac:picMk id="767" creationId="{29D670B7-BDA2-A0FF-14C5-B1BDE284D8EE}"/>
          </ac:picMkLst>
        </pc:picChg>
        <pc:picChg chg="del">
          <ac:chgData name="Maureen S. Fleming" userId="55564240-5a0e-4b16-8a23-b6077a4b6df8" providerId="ADAL" clId="{A523986C-F6BF-417F-B370-76E7AC853AD0}" dt="2024-02-07T19:48:23.369" v="1034" actId="478"/>
          <ac:picMkLst>
            <pc:docMk/>
            <pc:sldMk cId="1558548121" sldId="2147468916"/>
            <ac:picMk id="1026" creationId="{91BADC15-A1EF-DC06-C5EF-D39F1A22052A}"/>
          </ac:picMkLst>
        </pc:picChg>
      </pc:sldChg>
      <pc:sldChg chg="delSp modSp mod">
        <pc:chgData name="Maureen S. Fleming" userId="55564240-5a0e-4b16-8a23-b6077a4b6df8" providerId="ADAL" clId="{A523986C-F6BF-417F-B370-76E7AC853AD0}" dt="2024-02-07T19:38:20.445" v="176" actId="1035"/>
        <pc:sldMkLst>
          <pc:docMk/>
          <pc:sldMk cId="16694295" sldId="2147468917"/>
        </pc:sldMkLst>
        <pc:spChg chg="mod">
          <ac:chgData name="Maureen S. Fleming" userId="55564240-5a0e-4b16-8a23-b6077a4b6df8" providerId="ADAL" clId="{A523986C-F6BF-417F-B370-76E7AC853AD0}" dt="2024-02-07T19:38:20.445" v="176" actId="1035"/>
          <ac:spMkLst>
            <pc:docMk/>
            <pc:sldMk cId="16694295" sldId="2147468917"/>
            <ac:spMk id="14" creationId="{3F2AE522-97C3-C929-F606-41D50E97A510}"/>
          </ac:spMkLst>
        </pc:spChg>
        <pc:spChg chg="mod">
          <ac:chgData name="Maureen S. Fleming" userId="55564240-5a0e-4b16-8a23-b6077a4b6df8" providerId="ADAL" clId="{A523986C-F6BF-417F-B370-76E7AC853AD0}" dt="2024-02-07T19:38:20.445" v="176" actId="1035"/>
          <ac:spMkLst>
            <pc:docMk/>
            <pc:sldMk cId="16694295" sldId="2147468917"/>
            <ac:spMk id="759" creationId="{3BADE806-97C4-C52D-6972-2F312E7D9938}"/>
          </ac:spMkLst>
        </pc:spChg>
        <pc:picChg chg="del">
          <ac:chgData name="Maureen S. Fleming" userId="55564240-5a0e-4b16-8a23-b6077a4b6df8" providerId="ADAL" clId="{A523986C-F6BF-417F-B370-76E7AC853AD0}" dt="2024-02-07T19:38:15.151" v="160" actId="478"/>
          <ac:picMkLst>
            <pc:docMk/>
            <pc:sldMk cId="16694295" sldId="2147468917"/>
            <ac:picMk id="3" creationId="{8B67020D-A4D3-F8CF-D696-8C48FB2261EE}"/>
          </ac:picMkLst>
        </pc:picChg>
        <pc:picChg chg="del">
          <ac:chgData name="Maureen S. Fleming" userId="55564240-5a0e-4b16-8a23-b6077a4b6df8" providerId="ADAL" clId="{A523986C-F6BF-417F-B370-76E7AC853AD0}" dt="2024-02-07T19:38:15.151" v="160" actId="478"/>
          <ac:picMkLst>
            <pc:docMk/>
            <pc:sldMk cId="16694295" sldId="2147468917"/>
            <ac:picMk id="8" creationId="{5052BCED-C630-EE3C-5120-15E7925A19C8}"/>
          </ac:picMkLst>
        </pc:picChg>
        <pc:picChg chg="del">
          <ac:chgData name="Maureen S. Fleming" userId="55564240-5a0e-4b16-8a23-b6077a4b6df8" providerId="ADAL" clId="{A523986C-F6BF-417F-B370-76E7AC853AD0}" dt="2024-02-07T19:38:15.151" v="160" actId="478"/>
          <ac:picMkLst>
            <pc:docMk/>
            <pc:sldMk cId="16694295" sldId="2147468917"/>
            <ac:picMk id="767" creationId="{29D670B7-BDA2-A0FF-14C5-B1BDE284D8EE}"/>
          </ac:picMkLst>
        </pc:picChg>
      </pc:sldChg>
      <pc:sldChg chg="delSp modSp mod">
        <pc:chgData name="Maureen S. Fleming" userId="55564240-5a0e-4b16-8a23-b6077a4b6df8" providerId="ADAL" clId="{A523986C-F6BF-417F-B370-76E7AC853AD0}" dt="2024-02-07T19:43:04.988" v="508" actId="1076"/>
        <pc:sldMkLst>
          <pc:docMk/>
          <pc:sldMk cId="583622629" sldId="2147468918"/>
        </pc:sldMkLst>
        <pc:spChg chg="mod">
          <ac:chgData name="Maureen S. Fleming" userId="55564240-5a0e-4b16-8a23-b6077a4b6df8" providerId="ADAL" clId="{A523986C-F6BF-417F-B370-76E7AC853AD0}" dt="2024-02-07T19:43:04.988" v="508" actId="1076"/>
          <ac:spMkLst>
            <pc:docMk/>
            <pc:sldMk cId="583622629" sldId="2147468918"/>
            <ac:spMk id="14" creationId="{7FAAF45F-1BF5-AC64-78BD-5577D3579F50}"/>
          </ac:spMkLst>
        </pc:spChg>
        <pc:spChg chg="mod">
          <ac:chgData name="Maureen S. Fleming" userId="55564240-5a0e-4b16-8a23-b6077a4b6df8" providerId="ADAL" clId="{A523986C-F6BF-417F-B370-76E7AC853AD0}" dt="2024-02-07T19:43:04.988" v="508" actId="1076"/>
          <ac:spMkLst>
            <pc:docMk/>
            <pc:sldMk cId="583622629" sldId="2147468918"/>
            <ac:spMk id="759" creationId="{3BADE806-97C4-C52D-6972-2F312E7D9938}"/>
          </ac:spMkLst>
        </pc:spChg>
        <pc:picChg chg="del">
          <ac:chgData name="Maureen S. Fleming" userId="55564240-5a0e-4b16-8a23-b6077a4b6df8" providerId="ADAL" clId="{A523986C-F6BF-417F-B370-76E7AC853AD0}" dt="2024-02-07T19:43:00.062" v="507" actId="478"/>
          <ac:picMkLst>
            <pc:docMk/>
            <pc:sldMk cId="583622629" sldId="2147468918"/>
            <ac:picMk id="8" creationId="{F023AE6F-8A7D-53A0-09AD-79B5A9BDC278}"/>
          </ac:picMkLst>
        </pc:picChg>
        <pc:picChg chg="del">
          <ac:chgData name="Maureen S. Fleming" userId="55564240-5a0e-4b16-8a23-b6077a4b6df8" providerId="ADAL" clId="{A523986C-F6BF-417F-B370-76E7AC853AD0}" dt="2024-02-07T19:43:00.062" v="507" actId="478"/>
          <ac:picMkLst>
            <pc:docMk/>
            <pc:sldMk cId="583622629" sldId="2147468918"/>
            <ac:picMk id="12" creationId="{5F6A0694-1CE7-97D7-4B3C-765336480DD6}"/>
          </ac:picMkLst>
        </pc:picChg>
        <pc:picChg chg="del">
          <ac:chgData name="Maureen S. Fleming" userId="55564240-5a0e-4b16-8a23-b6077a4b6df8" providerId="ADAL" clId="{A523986C-F6BF-417F-B370-76E7AC853AD0}" dt="2024-02-07T19:43:00.062" v="507" actId="478"/>
          <ac:picMkLst>
            <pc:docMk/>
            <pc:sldMk cId="583622629" sldId="2147468918"/>
            <ac:picMk id="767" creationId="{29D670B7-BDA2-A0FF-14C5-B1BDE284D8EE}"/>
          </ac:picMkLst>
        </pc:picChg>
      </pc:sldChg>
      <pc:sldChg chg="delSp modSp mod">
        <pc:chgData name="Maureen S. Fleming" userId="55564240-5a0e-4b16-8a23-b6077a4b6df8" providerId="ADAL" clId="{A523986C-F6BF-417F-B370-76E7AC853AD0}" dt="2024-02-07T19:43:14.588" v="510" actId="1076"/>
        <pc:sldMkLst>
          <pc:docMk/>
          <pc:sldMk cId="2121904252" sldId="2147468919"/>
        </pc:sldMkLst>
        <pc:spChg chg="mod">
          <ac:chgData name="Maureen S. Fleming" userId="55564240-5a0e-4b16-8a23-b6077a4b6df8" providerId="ADAL" clId="{A523986C-F6BF-417F-B370-76E7AC853AD0}" dt="2024-02-07T19:43:14.588" v="510" actId="1076"/>
          <ac:spMkLst>
            <pc:docMk/>
            <pc:sldMk cId="2121904252" sldId="2147468919"/>
            <ac:spMk id="14" creationId="{7CF12AAD-F756-955D-EC1A-1CE8CD05BB6F}"/>
          </ac:spMkLst>
        </pc:spChg>
        <pc:spChg chg="mod">
          <ac:chgData name="Maureen S. Fleming" userId="55564240-5a0e-4b16-8a23-b6077a4b6df8" providerId="ADAL" clId="{A523986C-F6BF-417F-B370-76E7AC853AD0}" dt="2024-02-07T19:43:14.588" v="510" actId="1076"/>
          <ac:spMkLst>
            <pc:docMk/>
            <pc:sldMk cId="2121904252" sldId="2147468919"/>
            <ac:spMk id="759" creationId="{3BADE806-97C4-C52D-6972-2F312E7D9938}"/>
          </ac:spMkLst>
        </pc:spChg>
        <pc:picChg chg="del">
          <ac:chgData name="Maureen S. Fleming" userId="55564240-5a0e-4b16-8a23-b6077a4b6df8" providerId="ADAL" clId="{A523986C-F6BF-417F-B370-76E7AC853AD0}" dt="2024-02-07T19:43:09.478" v="509" actId="478"/>
          <ac:picMkLst>
            <pc:docMk/>
            <pc:sldMk cId="2121904252" sldId="2147468919"/>
            <ac:picMk id="8" creationId="{217B69E4-A43A-99A0-B97E-959DC8F85079}"/>
          </ac:picMkLst>
        </pc:picChg>
        <pc:picChg chg="del">
          <ac:chgData name="Maureen S. Fleming" userId="55564240-5a0e-4b16-8a23-b6077a4b6df8" providerId="ADAL" clId="{A523986C-F6BF-417F-B370-76E7AC853AD0}" dt="2024-02-07T19:43:09.478" v="509" actId="478"/>
          <ac:picMkLst>
            <pc:docMk/>
            <pc:sldMk cId="2121904252" sldId="2147468919"/>
            <ac:picMk id="12" creationId="{1C24D51D-F5EA-020D-A095-3D5EB7ABA205}"/>
          </ac:picMkLst>
        </pc:picChg>
        <pc:picChg chg="del">
          <ac:chgData name="Maureen S. Fleming" userId="55564240-5a0e-4b16-8a23-b6077a4b6df8" providerId="ADAL" clId="{A523986C-F6BF-417F-B370-76E7AC853AD0}" dt="2024-02-07T19:43:09.478" v="509" actId="478"/>
          <ac:picMkLst>
            <pc:docMk/>
            <pc:sldMk cId="2121904252" sldId="2147468919"/>
            <ac:picMk id="767" creationId="{29D670B7-BDA2-A0FF-14C5-B1BDE284D8EE}"/>
          </ac:picMkLst>
        </pc:picChg>
      </pc:sldChg>
      <pc:sldChg chg="delSp modSp mod">
        <pc:chgData name="Maureen S. Fleming" userId="55564240-5a0e-4b16-8a23-b6077a4b6df8" providerId="ADAL" clId="{A523986C-F6BF-417F-B370-76E7AC853AD0}" dt="2024-02-07T19:52:26.362" v="1467" actId="1035"/>
        <pc:sldMkLst>
          <pc:docMk/>
          <pc:sldMk cId="3258180438" sldId="2147468922"/>
        </pc:sldMkLst>
        <pc:spChg chg="mod">
          <ac:chgData name="Maureen S. Fleming" userId="55564240-5a0e-4b16-8a23-b6077a4b6df8" providerId="ADAL" clId="{A523986C-F6BF-417F-B370-76E7AC853AD0}" dt="2024-02-07T19:52:26.362" v="1467" actId="1035"/>
          <ac:spMkLst>
            <pc:docMk/>
            <pc:sldMk cId="3258180438" sldId="2147468922"/>
            <ac:spMk id="12" creationId="{906747DE-F678-57F2-6969-3A3FE6031CD8}"/>
          </ac:spMkLst>
        </pc:spChg>
        <pc:spChg chg="mod">
          <ac:chgData name="Maureen S. Fleming" userId="55564240-5a0e-4b16-8a23-b6077a4b6df8" providerId="ADAL" clId="{A523986C-F6BF-417F-B370-76E7AC853AD0}" dt="2024-02-07T19:52:26.362" v="1467" actId="1035"/>
          <ac:spMkLst>
            <pc:docMk/>
            <pc:sldMk cId="3258180438" sldId="2147468922"/>
            <ac:spMk id="759" creationId="{3BADE806-97C4-C52D-6972-2F312E7D9938}"/>
          </ac:spMkLst>
        </pc:spChg>
        <pc:picChg chg="del">
          <ac:chgData name="Maureen S. Fleming" userId="55564240-5a0e-4b16-8a23-b6077a4b6df8" providerId="ADAL" clId="{A523986C-F6BF-417F-B370-76E7AC853AD0}" dt="2024-02-07T19:52:21.645" v="1447" actId="478"/>
          <ac:picMkLst>
            <pc:docMk/>
            <pc:sldMk cId="3258180438" sldId="2147468922"/>
            <ac:picMk id="3" creationId="{A715572A-6BBB-204A-6B86-480A44AC0116}"/>
          </ac:picMkLst>
        </pc:picChg>
        <pc:picChg chg="del">
          <ac:chgData name="Maureen S. Fleming" userId="55564240-5a0e-4b16-8a23-b6077a4b6df8" providerId="ADAL" clId="{A523986C-F6BF-417F-B370-76E7AC853AD0}" dt="2024-02-07T19:52:21.645" v="1447" actId="478"/>
          <ac:picMkLst>
            <pc:docMk/>
            <pc:sldMk cId="3258180438" sldId="2147468922"/>
            <ac:picMk id="767" creationId="{29D670B7-BDA2-A0FF-14C5-B1BDE284D8EE}"/>
          </ac:picMkLst>
        </pc:picChg>
        <pc:picChg chg="del">
          <ac:chgData name="Maureen S. Fleming" userId="55564240-5a0e-4b16-8a23-b6077a4b6df8" providerId="ADAL" clId="{A523986C-F6BF-417F-B370-76E7AC853AD0}" dt="2024-02-07T19:52:21.645" v="1447" actId="478"/>
          <ac:picMkLst>
            <pc:docMk/>
            <pc:sldMk cId="3258180438" sldId="2147468922"/>
            <ac:picMk id="1026" creationId="{91BADC15-A1EF-DC06-C5EF-D39F1A22052A}"/>
          </ac:picMkLst>
        </pc:picChg>
      </pc:sldChg>
      <pc:sldChg chg="delSp modSp mod">
        <pc:chgData name="Maureen S. Fleming" userId="55564240-5a0e-4b16-8a23-b6077a4b6df8" providerId="ADAL" clId="{A523986C-F6BF-417F-B370-76E7AC853AD0}" dt="2024-02-07T19:48:47.089" v="1100" actId="1035"/>
        <pc:sldMkLst>
          <pc:docMk/>
          <pc:sldMk cId="1078767029" sldId="2147468924"/>
        </pc:sldMkLst>
        <pc:spChg chg="mod">
          <ac:chgData name="Maureen S. Fleming" userId="55564240-5a0e-4b16-8a23-b6077a4b6df8" providerId="ADAL" clId="{A523986C-F6BF-417F-B370-76E7AC853AD0}" dt="2024-02-07T19:48:47.089" v="1100" actId="1035"/>
          <ac:spMkLst>
            <pc:docMk/>
            <pc:sldMk cId="1078767029" sldId="2147468924"/>
            <ac:spMk id="15" creationId="{F636E518-2722-8EDB-3A84-A1BD34566DEF}"/>
          </ac:spMkLst>
        </pc:spChg>
        <pc:spChg chg="mod">
          <ac:chgData name="Maureen S. Fleming" userId="55564240-5a0e-4b16-8a23-b6077a4b6df8" providerId="ADAL" clId="{A523986C-F6BF-417F-B370-76E7AC853AD0}" dt="2024-02-07T19:48:47.089" v="1100" actId="1035"/>
          <ac:spMkLst>
            <pc:docMk/>
            <pc:sldMk cId="1078767029" sldId="2147468924"/>
            <ac:spMk id="759" creationId="{3BADE806-97C4-C52D-6972-2F312E7D9938}"/>
          </ac:spMkLst>
        </pc:spChg>
        <pc:picChg chg="del">
          <ac:chgData name="Maureen S. Fleming" userId="55564240-5a0e-4b16-8a23-b6077a4b6df8" providerId="ADAL" clId="{A523986C-F6BF-417F-B370-76E7AC853AD0}" dt="2024-02-07T19:48:43.995" v="1085" actId="478"/>
          <ac:picMkLst>
            <pc:docMk/>
            <pc:sldMk cId="1078767029" sldId="2147468924"/>
            <ac:picMk id="8" creationId="{1E9F1C1E-DF80-EBE6-1119-BE874E68170A}"/>
          </ac:picMkLst>
        </pc:picChg>
        <pc:picChg chg="del">
          <ac:chgData name="Maureen S. Fleming" userId="55564240-5a0e-4b16-8a23-b6077a4b6df8" providerId="ADAL" clId="{A523986C-F6BF-417F-B370-76E7AC853AD0}" dt="2024-02-07T19:48:43.995" v="1085" actId="478"/>
          <ac:picMkLst>
            <pc:docMk/>
            <pc:sldMk cId="1078767029" sldId="2147468924"/>
            <ac:picMk id="12" creationId="{3602718C-A9D6-60EE-BDF6-A5F5FB0798BE}"/>
          </ac:picMkLst>
        </pc:picChg>
        <pc:picChg chg="del">
          <ac:chgData name="Maureen S. Fleming" userId="55564240-5a0e-4b16-8a23-b6077a4b6df8" providerId="ADAL" clId="{A523986C-F6BF-417F-B370-76E7AC853AD0}" dt="2024-02-07T19:48:43.995" v="1085" actId="478"/>
          <ac:picMkLst>
            <pc:docMk/>
            <pc:sldMk cId="1078767029" sldId="2147468924"/>
            <ac:picMk id="14" creationId="{336C22C7-3A1E-9A0B-CE9E-7D25D03A986A}"/>
          </ac:picMkLst>
        </pc:picChg>
        <pc:picChg chg="del">
          <ac:chgData name="Maureen S. Fleming" userId="55564240-5a0e-4b16-8a23-b6077a4b6df8" providerId="ADAL" clId="{A523986C-F6BF-417F-B370-76E7AC853AD0}" dt="2024-02-07T19:48:43.995" v="1085" actId="478"/>
          <ac:picMkLst>
            <pc:docMk/>
            <pc:sldMk cId="1078767029" sldId="2147468924"/>
            <ac:picMk id="767" creationId="{29D670B7-BDA2-A0FF-14C5-B1BDE284D8EE}"/>
          </ac:picMkLst>
        </pc:picChg>
      </pc:sldChg>
      <pc:sldChg chg="delSp modSp mod">
        <pc:chgData name="Maureen S. Fleming" userId="55564240-5a0e-4b16-8a23-b6077a4b6df8" providerId="ADAL" clId="{A523986C-F6BF-417F-B370-76E7AC853AD0}" dt="2024-02-07T19:48:57.400" v="1116" actId="1035"/>
        <pc:sldMkLst>
          <pc:docMk/>
          <pc:sldMk cId="168745645" sldId="2147468925"/>
        </pc:sldMkLst>
        <pc:spChg chg="mod">
          <ac:chgData name="Maureen S. Fleming" userId="55564240-5a0e-4b16-8a23-b6077a4b6df8" providerId="ADAL" clId="{A523986C-F6BF-417F-B370-76E7AC853AD0}" dt="2024-02-07T19:48:57.400" v="1116" actId="1035"/>
          <ac:spMkLst>
            <pc:docMk/>
            <pc:sldMk cId="168745645" sldId="2147468925"/>
            <ac:spMk id="14" creationId="{C43E43E1-D52E-68F0-1634-6F05F5BCAE9B}"/>
          </ac:spMkLst>
        </pc:spChg>
        <pc:spChg chg="mod">
          <ac:chgData name="Maureen S. Fleming" userId="55564240-5a0e-4b16-8a23-b6077a4b6df8" providerId="ADAL" clId="{A523986C-F6BF-417F-B370-76E7AC853AD0}" dt="2024-02-07T19:48:57.400" v="1116" actId="1035"/>
          <ac:spMkLst>
            <pc:docMk/>
            <pc:sldMk cId="168745645" sldId="2147468925"/>
            <ac:spMk id="759" creationId="{3BADE806-97C4-C52D-6972-2F312E7D9938}"/>
          </ac:spMkLst>
        </pc:spChg>
        <pc:picChg chg="del">
          <ac:chgData name="Maureen S. Fleming" userId="55564240-5a0e-4b16-8a23-b6077a4b6df8" providerId="ADAL" clId="{A523986C-F6BF-417F-B370-76E7AC853AD0}" dt="2024-02-07T19:48:54.012" v="1101" actId="478"/>
          <ac:picMkLst>
            <pc:docMk/>
            <pc:sldMk cId="168745645" sldId="2147468925"/>
            <ac:picMk id="8" creationId="{04A19981-2358-423E-3AE1-FBC7E10AD1C1}"/>
          </ac:picMkLst>
        </pc:picChg>
        <pc:picChg chg="del">
          <ac:chgData name="Maureen S. Fleming" userId="55564240-5a0e-4b16-8a23-b6077a4b6df8" providerId="ADAL" clId="{A523986C-F6BF-417F-B370-76E7AC853AD0}" dt="2024-02-07T19:48:54.012" v="1101" actId="478"/>
          <ac:picMkLst>
            <pc:docMk/>
            <pc:sldMk cId="168745645" sldId="2147468925"/>
            <ac:picMk id="12" creationId="{410F4285-F203-C9FD-8B18-1BFA23C282C9}"/>
          </ac:picMkLst>
        </pc:picChg>
        <pc:picChg chg="del">
          <ac:chgData name="Maureen S. Fleming" userId="55564240-5a0e-4b16-8a23-b6077a4b6df8" providerId="ADAL" clId="{A523986C-F6BF-417F-B370-76E7AC853AD0}" dt="2024-02-07T19:48:54.012" v="1101" actId="478"/>
          <ac:picMkLst>
            <pc:docMk/>
            <pc:sldMk cId="168745645" sldId="2147468925"/>
            <ac:picMk id="767" creationId="{29D670B7-BDA2-A0FF-14C5-B1BDE284D8EE}"/>
          </ac:picMkLst>
        </pc:picChg>
      </pc:sldChg>
      <pc:sldChg chg="delSp modSp mod">
        <pc:chgData name="Maureen S. Fleming" userId="55564240-5a0e-4b16-8a23-b6077a4b6df8" providerId="ADAL" clId="{A523986C-F6BF-417F-B370-76E7AC853AD0}" dt="2024-02-07T19:50:32.261" v="1278" actId="1035"/>
        <pc:sldMkLst>
          <pc:docMk/>
          <pc:sldMk cId="3608563650" sldId="2147468926"/>
        </pc:sldMkLst>
        <pc:spChg chg="mod">
          <ac:chgData name="Maureen S. Fleming" userId="55564240-5a0e-4b16-8a23-b6077a4b6df8" providerId="ADAL" clId="{A523986C-F6BF-417F-B370-76E7AC853AD0}" dt="2024-02-07T19:50:32.261" v="1278" actId="1035"/>
          <ac:spMkLst>
            <pc:docMk/>
            <pc:sldMk cId="3608563650" sldId="2147468926"/>
            <ac:spMk id="759" creationId="{3BADE806-97C4-C52D-6972-2F312E7D9938}"/>
          </ac:spMkLst>
        </pc:spChg>
        <pc:spChg chg="mod">
          <ac:chgData name="Maureen S. Fleming" userId="55564240-5a0e-4b16-8a23-b6077a4b6df8" providerId="ADAL" clId="{A523986C-F6BF-417F-B370-76E7AC853AD0}" dt="2024-02-07T19:50:32.261" v="1278" actId="1035"/>
          <ac:spMkLst>
            <pc:docMk/>
            <pc:sldMk cId="3608563650" sldId="2147468926"/>
            <ac:spMk id="760" creationId="{16F0A96B-3D1E-E8DF-AC52-46F2C43A756E}"/>
          </ac:spMkLst>
        </pc:spChg>
        <pc:picChg chg="del">
          <ac:chgData name="Maureen S. Fleming" userId="55564240-5a0e-4b16-8a23-b6077a4b6df8" providerId="ADAL" clId="{A523986C-F6BF-417F-B370-76E7AC853AD0}" dt="2024-02-07T19:50:25.197" v="1251" actId="478"/>
          <ac:picMkLst>
            <pc:docMk/>
            <pc:sldMk cId="3608563650" sldId="2147468926"/>
            <ac:picMk id="3" creationId="{866E1427-7493-FFD0-0226-49D1D10B962B}"/>
          </ac:picMkLst>
        </pc:picChg>
        <pc:picChg chg="del">
          <ac:chgData name="Maureen S. Fleming" userId="55564240-5a0e-4b16-8a23-b6077a4b6df8" providerId="ADAL" clId="{A523986C-F6BF-417F-B370-76E7AC853AD0}" dt="2024-02-07T19:50:25.197" v="1251" actId="478"/>
          <ac:picMkLst>
            <pc:docMk/>
            <pc:sldMk cId="3608563650" sldId="2147468926"/>
            <ac:picMk id="8" creationId="{0A668F44-95FA-A288-31C8-9ED46988998E}"/>
          </ac:picMkLst>
        </pc:picChg>
        <pc:picChg chg="del">
          <ac:chgData name="Maureen S. Fleming" userId="55564240-5a0e-4b16-8a23-b6077a4b6df8" providerId="ADAL" clId="{A523986C-F6BF-417F-B370-76E7AC853AD0}" dt="2024-02-07T19:50:25.197" v="1251" actId="478"/>
          <ac:picMkLst>
            <pc:docMk/>
            <pc:sldMk cId="3608563650" sldId="2147468926"/>
            <ac:picMk id="767" creationId="{29D670B7-BDA2-A0FF-14C5-B1BDE284D8EE}"/>
          </ac:picMkLst>
        </pc:picChg>
      </pc:sldChg>
      <pc:sldChg chg="delSp modSp mod">
        <pc:chgData name="Maureen S. Fleming" userId="55564240-5a0e-4b16-8a23-b6077a4b6df8" providerId="ADAL" clId="{A523986C-F6BF-417F-B370-76E7AC853AD0}" dt="2024-02-07T19:50:43.028" v="1308" actId="1036"/>
        <pc:sldMkLst>
          <pc:docMk/>
          <pc:sldMk cId="3780769030" sldId="2147468927"/>
        </pc:sldMkLst>
        <pc:spChg chg="mod">
          <ac:chgData name="Maureen S. Fleming" userId="55564240-5a0e-4b16-8a23-b6077a4b6df8" providerId="ADAL" clId="{A523986C-F6BF-417F-B370-76E7AC853AD0}" dt="2024-02-07T19:50:43.028" v="1308" actId="1036"/>
          <ac:spMkLst>
            <pc:docMk/>
            <pc:sldMk cId="3780769030" sldId="2147468927"/>
            <ac:spMk id="759" creationId="{3BADE806-97C4-C52D-6972-2F312E7D9938}"/>
          </ac:spMkLst>
        </pc:spChg>
        <pc:spChg chg="mod">
          <ac:chgData name="Maureen S. Fleming" userId="55564240-5a0e-4b16-8a23-b6077a4b6df8" providerId="ADAL" clId="{A523986C-F6BF-417F-B370-76E7AC853AD0}" dt="2024-02-07T19:50:43.028" v="1308" actId="1036"/>
          <ac:spMkLst>
            <pc:docMk/>
            <pc:sldMk cId="3780769030" sldId="2147468927"/>
            <ac:spMk id="760" creationId="{16F0A96B-3D1E-E8DF-AC52-46F2C43A756E}"/>
          </ac:spMkLst>
        </pc:spChg>
        <pc:picChg chg="del">
          <ac:chgData name="Maureen S. Fleming" userId="55564240-5a0e-4b16-8a23-b6077a4b6df8" providerId="ADAL" clId="{A523986C-F6BF-417F-B370-76E7AC853AD0}" dt="2024-02-07T19:50:38.295" v="1279" actId="478"/>
          <ac:picMkLst>
            <pc:docMk/>
            <pc:sldMk cId="3780769030" sldId="2147468927"/>
            <ac:picMk id="8" creationId="{BED7DC8C-51D9-8046-28C7-536B83E96CCF}"/>
          </ac:picMkLst>
        </pc:picChg>
        <pc:picChg chg="del">
          <ac:chgData name="Maureen S. Fleming" userId="55564240-5a0e-4b16-8a23-b6077a4b6df8" providerId="ADAL" clId="{A523986C-F6BF-417F-B370-76E7AC853AD0}" dt="2024-02-07T19:50:38.295" v="1279" actId="478"/>
          <ac:picMkLst>
            <pc:docMk/>
            <pc:sldMk cId="3780769030" sldId="2147468927"/>
            <ac:picMk id="767" creationId="{29D670B7-BDA2-A0FF-14C5-B1BDE284D8EE}"/>
          </ac:picMkLst>
        </pc:picChg>
        <pc:picChg chg="del">
          <ac:chgData name="Maureen S. Fleming" userId="55564240-5a0e-4b16-8a23-b6077a4b6df8" providerId="ADAL" clId="{A523986C-F6BF-417F-B370-76E7AC853AD0}" dt="2024-02-07T19:50:38.295" v="1279" actId="478"/>
          <ac:picMkLst>
            <pc:docMk/>
            <pc:sldMk cId="3780769030" sldId="2147468927"/>
            <ac:picMk id="1026" creationId="{91BADC15-A1EF-DC06-C5EF-D39F1A22052A}"/>
          </ac:picMkLst>
        </pc:picChg>
      </pc:sldChg>
      <pc:sldChg chg="delSp modSp mod">
        <pc:chgData name="Maureen S. Fleming" userId="55564240-5a0e-4b16-8a23-b6077a4b6df8" providerId="ADAL" clId="{A523986C-F6BF-417F-B370-76E7AC853AD0}" dt="2024-02-07T19:38:35.862" v="198" actId="1035"/>
        <pc:sldMkLst>
          <pc:docMk/>
          <pc:sldMk cId="990424558" sldId="2147468928"/>
        </pc:sldMkLst>
        <pc:spChg chg="mod">
          <ac:chgData name="Maureen S. Fleming" userId="55564240-5a0e-4b16-8a23-b6077a4b6df8" providerId="ADAL" clId="{A523986C-F6BF-417F-B370-76E7AC853AD0}" dt="2024-02-07T19:38:35.862" v="198" actId="1035"/>
          <ac:spMkLst>
            <pc:docMk/>
            <pc:sldMk cId="990424558" sldId="2147468928"/>
            <ac:spMk id="759" creationId="{3BADE806-97C4-C52D-6972-2F312E7D9938}"/>
          </ac:spMkLst>
        </pc:spChg>
        <pc:spChg chg="mod">
          <ac:chgData name="Maureen S. Fleming" userId="55564240-5a0e-4b16-8a23-b6077a4b6df8" providerId="ADAL" clId="{A523986C-F6BF-417F-B370-76E7AC853AD0}" dt="2024-02-07T19:38:35.862" v="198" actId="1035"/>
          <ac:spMkLst>
            <pc:docMk/>
            <pc:sldMk cId="990424558" sldId="2147468928"/>
            <ac:spMk id="760" creationId="{16F0A96B-3D1E-E8DF-AC52-46F2C43A756E}"/>
          </ac:spMkLst>
        </pc:spChg>
        <pc:picChg chg="del">
          <ac:chgData name="Maureen S. Fleming" userId="55564240-5a0e-4b16-8a23-b6077a4b6df8" providerId="ADAL" clId="{A523986C-F6BF-417F-B370-76E7AC853AD0}" dt="2024-02-07T19:38:30.528" v="177" actId="478"/>
          <ac:picMkLst>
            <pc:docMk/>
            <pc:sldMk cId="990424558" sldId="2147468928"/>
            <ac:picMk id="8" creationId="{A1CB2992-D46C-111D-FCB7-065D7BFACD71}"/>
          </ac:picMkLst>
        </pc:picChg>
        <pc:picChg chg="del">
          <ac:chgData name="Maureen S. Fleming" userId="55564240-5a0e-4b16-8a23-b6077a4b6df8" providerId="ADAL" clId="{A523986C-F6BF-417F-B370-76E7AC853AD0}" dt="2024-02-07T19:38:30.528" v="177" actId="478"/>
          <ac:picMkLst>
            <pc:docMk/>
            <pc:sldMk cId="990424558" sldId="2147468928"/>
            <ac:picMk id="12" creationId="{71708D4D-D540-9558-5915-5243778C7967}"/>
          </ac:picMkLst>
        </pc:picChg>
        <pc:picChg chg="del">
          <ac:chgData name="Maureen S. Fleming" userId="55564240-5a0e-4b16-8a23-b6077a4b6df8" providerId="ADAL" clId="{A523986C-F6BF-417F-B370-76E7AC853AD0}" dt="2024-02-07T19:38:30.528" v="177" actId="478"/>
          <ac:picMkLst>
            <pc:docMk/>
            <pc:sldMk cId="990424558" sldId="2147468928"/>
            <ac:picMk id="14" creationId="{00BC8B79-5F96-462A-5325-A3CDF73AED73}"/>
          </ac:picMkLst>
        </pc:picChg>
        <pc:picChg chg="del">
          <ac:chgData name="Maureen S. Fleming" userId="55564240-5a0e-4b16-8a23-b6077a4b6df8" providerId="ADAL" clId="{A523986C-F6BF-417F-B370-76E7AC853AD0}" dt="2024-02-07T19:38:30.528" v="177" actId="478"/>
          <ac:picMkLst>
            <pc:docMk/>
            <pc:sldMk cId="990424558" sldId="2147468928"/>
            <ac:picMk id="767" creationId="{29D670B7-BDA2-A0FF-14C5-B1BDE284D8EE}"/>
          </ac:picMkLst>
        </pc:picChg>
      </pc:sldChg>
      <pc:sldChg chg="delSp modSp mod">
        <pc:chgData name="Maureen S. Fleming" userId="55564240-5a0e-4b16-8a23-b6077a4b6df8" providerId="ADAL" clId="{A523986C-F6BF-417F-B370-76E7AC853AD0}" dt="2024-02-07T19:49:06.395" v="1134" actId="1035"/>
        <pc:sldMkLst>
          <pc:docMk/>
          <pc:sldMk cId="2730260713" sldId="2147468929"/>
        </pc:sldMkLst>
        <pc:spChg chg="mod">
          <ac:chgData name="Maureen S. Fleming" userId="55564240-5a0e-4b16-8a23-b6077a4b6df8" providerId="ADAL" clId="{A523986C-F6BF-417F-B370-76E7AC853AD0}" dt="2024-02-07T19:49:06.395" v="1134" actId="1035"/>
          <ac:spMkLst>
            <pc:docMk/>
            <pc:sldMk cId="2730260713" sldId="2147468929"/>
            <ac:spMk id="759" creationId="{3BADE806-97C4-C52D-6972-2F312E7D9938}"/>
          </ac:spMkLst>
        </pc:spChg>
        <pc:spChg chg="mod">
          <ac:chgData name="Maureen S. Fleming" userId="55564240-5a0e-4b16-8a23-b6077a4b6df8" providerId="ADAL" clId="{A523986C-F6BF-417F-B370-76E7AC853AD0}" dt="2024-02-07T19:49:06.395" v="1134" actId="1035"/>
          <ac:spMkLst>
            <pc:docMk/>
            <pc:sldMk cId="2730260713" sldId="2147468929"/>
            <ac:spMk id="760" creationId="{16F0A96B-3D1E-E8DF-AC52-46F2C43A756E}"/>
          </ac:spMkLst>
        </pc:spChg>
        <pc:picChg chg="del">
          <ac:chgData name="Maureen S. Fleming" userId="55564240-5a0e-4b16-8a23-b6077a4b6df8" providerId="ADAL" clId="{A523986C-F6BF-417F-B370-76E7AC853AD0}" dt="2024-02-07T19:49:02.748" v="1117" actId="478"/>
          <ac:picMkLst>
            <pc:docMk/>
            <pc:sldMk cId="2730260713" sldId="2147468929"/>
            <ac:picMk id="8" creationId="{A625C803-BFC9-9BC2-961C-108CB763A934}"/>
          </ac:picMkLst>
        </pc:picChg>
        <pc:picChg chg="del">
          <ac:chgData name="Maureen S. Fleming" userId="55564240-5a0e-4b16-8a23-b6077a4b6df8" providerId="ADAL" clId="{A523986C-F6BF-417F-B370-76E7AC853AD0}" dt="2024-02-07T19:49:02.748" v="1117" actId="478"/>
          <ac:picMkLst>
            <pc:docMk/>
            <pc:sldMk cId="2730260713" sldId="2147468929"/>
            <ac:picMk id="767" creationId="{29D670B7-BDA2-A0FF-14C5-B1BDE284D8EE}"/>
          </ac:picMkLst>
        </pc:picChg>
        <pc:picChg chg="del">
          <ac:chgData name="Maureen S. Fleming" userId="55564240-5a0e-4b16-8a23-b6077a4b6df8" providerId="ADAL" clId="{A523986C-F6BF-417F-B370-76E7AC853AD0}" dt="2024-02-07T19:49:02.748" v="1117" actId="478"/>
          <ac:picMkLst>
            <pc:docMk/>
            <pc:sldMk cId="2730260713" sldId="2147468929"/>
            <ac:picMk id="1026" creationId="{91BADC15-A1EF-DC06-C5EF-D39F1A22052A}"/>
          </ac:picMkLst>
        </pc:picChg>
      </pc:sldChg>
      <pc:sldChg chg="delSp modSp mod">
        <pc:chgData name="Maureen S. Fleming" userId="55564240-5a0e-4b16-8a23-b6077a4b6df8" providerId="ADAL" clId="{A523986C-F6BF-417F-B370-76E7AC853AD0}" dt="2024-02-07T19:36:25.762" v="70" actId="1035"/>
        <pc:sldMkLst>
          <pc:docMk/>
          <pc:sldMk cId="67973762" sldId="2147468930"/>
        </pc:sldMkLst>
        <pc:spChg chg="mod">
          <ac:chgData name="Maureen S. Fleming" userId="55564240-5a0e-4b16-8a23-b6077a4b6df8" providerId="ADAL" clId="{A523986C-F6BF-417F-B370-76E7AC853AD0}" dt="2024-02-07T19:36:25.762" v="70" actId="1035"/>
          <ac:spMkLst>
            <pc:docMk/>
            <pc:sldMk cId="67973762" sldId="2147468930"/>
            <ac:spMk id="2" creationId="{DDA9140B-DB11-176B-FD7D-C73288F6DEAE}"/>
          </ac:spMkLst>
        </pc:spChg>
        <pc:spChg chg="mod">
          <ac:chgData name="Maureen S. Fleming" userId="55564240-5a0e-4b16-8a23-b6077a4b6df8" providerId="ADAL" clId="{A523986C-F6BF-417F-B370-76E7AC853AD0}" dt="2024-02-07T19:36:25.762" v="70" actId="1035"/>
          <ac:spMkLst>
            <pc:docMk/>
            <pc:sldMk cId="67973762" sldId="2147468930"/>
            <ac:spMk id="751" creationId="{3D178A78-CD9B-9B57-381E-6C79E4F668FB}"/>
          </ac:spMkLst>
        </pc:spChg>
        <pc:spChg chg="mod">
          <ac:chgData name="Maureen S. Fleming" userId="55564240-5a0e-4b16-8a23-b6077a4b6df8" providerId="ADAL" clId="{A523986C-F6BF-417F-B370-76E7AC853AD0}" dt="2024-02-07T19:36:25.762" v="70" actId="1035"/>
          <ac:spMkLst>
            <pc:docMk/>
            <pc:sldMk cId="67973762" sldId="2147468930"/>
            <ac:spMk id="759" creationId="{3BADE806-97C4-C52D-6972-2F312E7D9938}"/>
          </ac:spMkLst>
        </pc:spChg>
        <pc:spChg chg="mod">
          <ac:chgData name="Maureen S. Fleming" userId="55564240-5a0e-4b16-8a23-b6077a4b6df8" providerId="ADAL" clId="{A523986C-F6BF-417F-B370-76E7AC853AD0}" dt="2024-02-07T19:36:25.762" v="70" actId="1035"/>
          <ac:spMkLst>
            <pc:docMk/>
            <pc:sldMk cId="67973762" sldId="2147468930"/>
            <ac:spMk id="760" creationId="{16F0A96B-3D1E-E8DF-AC52-46F2C43A756E}"/>
          </ac:spMkLst>
        </pc:spChg>
        <pc:picChg chg="del">
          <ac:chgData name="Maureen S. Fleming" userId="55564240-5a0e-4b16-8a23-b6077a4b6df8" providerId="ADAL" clId="{A523986C-F6BF-417F-B370-76E7AC853AD0}" dt="2024-02-07T19:35:36.278" v="20" actId="478"/>
          <ac:picMkLst>
            <pc:docMk/>
            <pc:sldMk cId="67973762" sldId="2147468930"/>
            <ac:picMk id="8" creationId="{CFEC5877-C314-FC68-C78C-1B40BE41C4E4}"/>
          </ac:picMkLst>
        </pc:picChg>
        <pc:picChg chg="del">
          <ac:chgData name="Maureen S. Fleming" userId="55564240-5a0e-4b16-8a23-b6077a4b6df8" providerId="ADAL" clId="{A523986C-F6BF-417F-B370-76E7AC853AD0}" dt="2024-02-07T19:35:36.278" v="20" actId="478"/>
          <ac:picMkLst>
            <pc:docMk/>
            <pc:sldMk cId="67973762" sldId="2147468930"/>
            <ac:picMk id="12" creationId="{4F2220CF-AD02-D932-1D86-9DF8FE65462A}"/>
          </ac:picMkLst>
        </pc:picChg>
        <pc:picChg chg="del">
          <ac:chgData name="Maureen S. Fleming" userId="55564240-5a0e-4b16-8a23-b6077a4b6df8" providerId="ADAL" clId="{A523986C-F6BF-417F-B370-76E7AC853AD0}" dt="2024-02-07T19:35:36.278" v="20" actId="478"/>
          <ac:picMkLst>
            <pc:docMk/>
            <pc:sldMk cId="67973762" sldId="2147468930"/>
            <ac:picMk id="767" creationId="{29D670B7-BDA2-A0FF-14C5-B1BDE284D8EE}"/>
          </ac:picMkLst>
        </pc:picChg>
      </pc:sldChg>
      <pc:sldChg chg="delSp modSp mod">
        <pc:chgData name="Maureen S. Fleming" userId="55564240-5a0e-4b16-8a23-b6077a4b6df8" providerId="ADAL" clId="{A523986C-F6BF-417F-B370-76E7AC853AD0}" dt="2024-02-07T19:54:38.150" v="1553" actId="1035"/>
        <pc:sldMkLst>
          <pc:docMk/>
          <pc:sldMk cId="461031619" sldId="2147468932"/>
        </pc:sldMkLst>
        <pc:spChg chg="mod">
          <ac:chgData name="Maureen S. Fleming" userId="55564240-5a0e-4b16-8a23-b6077a4b6df8" providerId="ADAL" clId="{A523986C-F6BF-417F-B370-76E7AC853AD0}" dt="2024-02-07T19:54:38.150" v="1553" actId="1035"/>
          <ac:spMkLst>
            <pc:docMk/>
            <pc:sldMk cId="461031619" sldId="2147468932"/>
            <ac:spMk id="759" creationId="{3BADE806-97C4-C52D-6972-2F312E7D9938}"/>
          </ac:spMkLst>
        </pc:spChg>
        <pc:spChg chg="mod">
          <ac:chgData name="Maureen S. Fleming" userId="55564240-5a0e-4b16-8a23-b6077a4b6df8" providerId="ADAL" clId="{A523986C-F6BF-417F-B370-76E7AC853AD0}" dt="2024-02-07T19:54:38.150" v="1553" actId="1035"/>
          <ac:spMkLst>
            <pc:docMk/>
            <pc:sldMk cId="461031619" sldId="2147468932"/>
            <ac:spMk id="760" creationId="{16F0A96B-3D1E-E8DF-AC52-46F2C43A756E}"/>
          </ac:spMkLst>
        </pc:spChg>
        <pc:picChg chg="del">
          <ac:chgData name="Maureen S. Fleming" userId="55564240-5a0e-4b16-8a23-b6077a4b6df8" providerId="ADAL" clId="{A523986C-F6BF-417F-B370-76E7AC853AD0}" dt="2024-02-07T19:54:34.680" v="1537" actId="478"/>
          <ac:picMkLst>
            <pc:docMk/>
            <pc:sldMk cId="461031619" sldId="2147468932"/>
            <ac:picMk id="8" creationId="{37F674F4-01A7-8A48-CD16-CC3AA1AB7B82}"/>
          </ac:picMkLst>
        </pc:picChg>
        <pc:picChg chg="del">
          <ac:chgData name="Maureen S. Fleming" userId="55564240-5a0e-4b16-8a23-b6077a4b6df8" providerId="ADAL" clId="{A523986C-F6BF-417F-B370-76E7AC853AD0}" dt="2024-02-07T19:54:34.680" v="1537" actId="478"/>
          <ac:picMkLst>
            <pc:docMk/>
            <pc:sldMk cId="461031619" sldId="2147468932"/>
            <ac:picMk id="12" creationId="{242293AC-8FD3-3ADE-2CCF-343CF1455397}"/>
          </ac:picMkLst>
        </pc:picChg>
        <pc:picChg chg="del">
          <ac:chgData name="Maureen S. Fleming" userId="55564240-5a0e-4b16-8a23-b6077a4b6df8" providerId="ADAL" clId="{A523986C-F6BF-417F-B370-76E7AC853AD0}" dt="2024-02-07T19:54:34.680" v="1537" actId="478"/>
          <ac:picMkLst>
            <pc:docMk/>
            <pc:sldMk cId="461031619" sldId="2147468932"/>
            <ac:picMk id="767" creationId="{29D670B7-BDA2-A0FF-14C5-B1BDE284D8EE}"/>
          </ac:picMkLst>
        </pc:picChg>
      </pc:sldChg>
      <pc:sldChg chg="delSp modSp mod">
        <pc:chgData name="Maureen S. Fleming" userId="55564240-5a0e-4b16-8a23-b6077a4b6df8" providerId="ADAL" clId="{A523986C-F6BF-417F-B370-76E7AC853AD0}" dt="2024-02-07T19:54:46.843" v="1568" actId="1035"/>
        <pc:sldMkLst>
          <pc:docMk/>
          <pc:sldMk cId="825567547" sldId="2147468934"/>
        </pc:sldMkLst>
        <pc:spChg chg="mod">
          <ac:chgData name="Maureen S. Fleming" userId="55564240-5a0e-4b16-8a23-b6077a4b6df8" providerId="ADAL" clId="{A523986C-F6BF-417F-B370-76E7AC853AD0}" dt="2024-02-07T19:54:46.843" v="1568" actId="1035"/>
          <ac:spMkLst>
            <pc:docMk/>
            <pc:sldMk cId="825567547" sldId="2147468934"/>
            <ac:spMk id="14" creationId="{A47CFF1A-9EC7-F9B2-C01F-2E2C4A69F0F4}"/>
          </ac:spMkLst>
        </pc:spChg>
        <pc:spChg chg="mod">
          <ac:chgData name="Maureen S. Fleming" userId="55564240-5a0e-4b16-8a23-b6077a4b6df8" providerId="ADAL" clId="{A523986C-F6BF-417F-B370-76E7AC853AD0}" dt="2024-02-07T19:54:46.843" v="1568" actId="1035"/>
          <ac:spMkLst>
            <pc:docMk/>
            <pc:sldMk cId="825567547" sldId="2147468934"/>
            <ac:spMk id="15" creationId="{220758C7-E42E-E0F9-399D-D1C2B7B2FA90}"/>
          </ac:spMkLst>
        </pc:spChg>
        <pc:picChg chg="del">
          <ac:chgData name="Maureen S. Fleming" userId="55564240-5a0e-4b16-8a23-b6077a4b6df8" providerId="ADAL" clId="{A523986C-F6BF-417F-B370-76E7AC853AD0}" dt="2024-02-07T19:54:43.828" v="1554" actId="478"/>
          <ac:picMkLst>
            <pc:docMk/>
            <pc:sldMk cId="825567547" sldId="2147468934"/>
            <ac:picMk id="8" creationId="{AFA61798-1C9A-2047-070D-A20C410C7DC0}"/>
          </ac:picMkLst>
        </pc:picChg>
        <pc:picChg chg="del">
          <ac:chgData name="Maureen S. Fleming" userId="55564240-5a0e-4b16-8a23-b6077a4b6df8" providerId="ADAL" clId="{A523986C-F6BF-417F-B370-76E7AC853AD0}" dt="2024-02-07T19:54:43.828" v="1554" actId="478"/>
          <ac:picMkLst>
            <pc:docMk/>
            <pc:sldMk cId="825567547" sldId="2147468934"/>
            <ac:picMk id="12" creationId="{6F460582-4A9D-FD6C-6E69-2533353F2D93}"/>
          </ac:picMkLst>
        </pc:picChg>
        <pc:picChg chg="del">
          <ac:chgData name="Maureen S. Fleming" userId="55564240-5a0e-4b16-8a23-b6077a4b6df8" providerId="ADAL" clId="{A523986C-F6BF-417F-B370-76E7AC853AD0}" dt="2024-02-07T19:54:43.828" v="1554" actId="478"/>
          <ac:picMkLst>
            <pc:docMk/>
            <pc:sldMk cId="825567547" sldId="2147468934"/>
            <ac:picMk id="767" creationId="{29D670B7-BDA2-A0FF-14C5-B1BDE284D8EE}"/>
          </ac:picMkLst>
        </pc:picChg>
      </pc:sldChg>
      <pc:sldChg chg="delSp modSp mod">
        <pc:chgData name="Maureen S. Fleming" userId="55564240-5a0e-4b16-8a23-b6077a4b6df8" providerId="ADAL" clId="{A523986C-F6BF-417F-B370-76E7AC853AD0}" dt="2024-02-07T19:38:55.416" v="245" actId="1035"/>
        <pc:sldMkLst>
          <pc:docMk/>
          <pc:sldMk cId="3613853464" sldId="2147468935"/>
        </pc:sldMkLst>
        <pc:spChg chg="mod">
          <ac:chgData name="Maureen S. Fleming" userId="55564240-5a0e-4b16-8a23-b6077a4b6df8" providerId="ADAL" clId="{A523986C-F6BF-417F-B370-76E7AC853AD0}" dt="2024-02-07T19:38:55.416" v="245" actId="1035"/>
          <ac:spMkLst>
            <pc:docMk/>
            <pc:sldMk cId="3613853464" sldId="2147468935"/>
            <ac:spMk id="14" creationId="{D122D3E8-55E0-5294-3394-FE9D24DAF9DF}"/>
          </ac:spMkLst>
        </pc:spChg>
        <pc:spChg chg="mod">
          <ac:chgData name="Maureen S. Fleming" userId="55564240-5a0e-4b16-8a23-b6077a4b6df8" providerId="ADAL" clId="{A523986C-F6BF-417F-B370-76E7AC853AD0}" dt="2024-02-07T19:38:55.416" v="245" actId="1035"/>
          <ac:spMkLst>
            <pc:docMk/>
            <pc:sldMk cId="3613853464" sldId="2147468935"/>
            <ac:spMk id="759" creationId="{3BADE806-97C4-C52D-6972-2F312E7D9938}"/>
          </ac:spMkLst>
        </pc:spChg>
        <pc:picChg chg="del">
          <ac:chgData name="Maureen S. Fleming" userId="55564240-5a0e-4b16-8a23-b6077a4b6df8" providerId="ADAL" clId="{A523986C-F6BF-417F-B370-76E7AC853AD0}" dt="2024-02-07T19:38:48.779" v="217" actId="478"/>
          <ac:picMkLst>
            <pc:docMk/>
            <pc:sldMk cId="3613853464" sldId="2147468935"/>
            <ac:picMk id="8" creationId="{ADAE70D1-62D7-75B6-C905-30F6328D9BBD}"/>
          </ac:picMkLst>
        </pc:picChg>
        <pc:picChg chg="del">
          <ac:chgData name="Maureen S. Fleming" userId="55564240-5a0e-4b16-8a23-b6077a4b6df8" providerId="ADAL" clId="{A523986C-F6BF-417F-B370-76E7AC853AD0}" dt="2024-02-07T19:38:48.779" v="217" actId="478"/>
          <ac:picMkLst>
            <pc:docMk/>
            <pc:sldMk cId="3613853464" sldId="2147468935"/>
            <ac:picMk id="12" creationId="{38BC7D2E-6F76-9B40-3924-36AB187BDDB5}"/>
          </ac:picMkLst>
        </pc:picChg>
        <pc:picChg chg="del">
          <ac:chgData name="Maureen S. Fleming" userId="55564240-5a0e-4b16-8a23-b6077a4b6df8" providerId="ADAL" clId="{A523986C-F6BF-417F-B370-76E7AC853AD0}" dt="2024-02-07T19:38:48.779" v="217" actId="478"/>
          <ac:picMkLst>
            <pc:docMk/>
            <pc:sldMk cId="3613853464" sldId="2147468935"/>
            <ac:picMk id="767" creationId="{29D670B7-BDA2-A0FF-14C5-B1BDE284D8EE}"/>
          </ac:picMkLst>
        </pc:picChg>
      </pc:sldChg>
      <pc:sldChg chg="delSp modSp mod">
        <pc:chgData name="Maureen S. Fleming" userId="55564240-5a0e-4b16-8a23-b6077a4b6df8" providerId="ADAL" clId="{A523986C-F6BF-417F-B370-76E7AC853AD0}" dt="2024-02-07T19:39:05.723" v="268" actId="1035"/>
        <pc:sldMkLst>
          <pc:docMk/>
          <pc:sldMk cId="3462284235" sldId="2147468936"/>
        </pc:sldMkLst>
        <pc:spChg chg="mod">
          <ac:chgData name="Maureen S. Fleming" userId="55564240-5a0e-4b16-8a23-b6077a4b6df8" providerId="ADAL" clId="{A523986C-F6BF-417F-B370-76E7AC853AD0}" dt="2024-02-07T19:39:05.723" v="268" actId="1035"/>
          <ac:spMkLst>
            <pc:docMk/>
            <pc:sldMk cId="3462284235" sldId="2147468936"/>
            <ac:spMk id="759" creationId="{3BADE806-97C4-C52D-6972-2F312E7D9938}"/>
          </ac:spMkLst>
        </pc:spChg>
        <pc:spChg chg="mod">
          <ac:chgData name="Maureen S. Fleming" userId="55564240-5a0e-4b16-8a23-b6077a4b6df8" providerId="ADAL" clId="{A523986C-F6BF-417F-B370-76E7AC853AD0}" dt="2024-02-07T19:39:05.723" v="268" actId="1035"/>
          <ac:spMkLst>
            <pc:docMk/>
            <pc:sldMk cId="3462284235" sldId="2147468936"/>
            <ac:spMk id="760" creationId="{16F0A96B-3D1E-E8DF-AC52-46F2C43A756E}"/>
          </ac:spMkLst>
        </pc:spChg>
        <pc:picChg chg="del">
          <ac:chgData name="Maureen S. Fleming" userId="55564240-5a0e-4b16-8a23-b6077a4b6df8" providerId="ADAL" clId="{A523986C-F6BF-417F-B370-76E7AC853AD0}" dt="2024-02-07T19:39:00.345" v="246" actId="478"/>
          <ac:picMkLst>
            <pc:docMk/>
            <pc:sldMk cId="3462284235" sldId="2147468936"/>
            <ac:picMk id="8" creationId="{0D50ED66-E317-1C8B-C244-6261641CD5B7}"/>
          </ac:picMkLst>
        </pc:picChg>
        <pc:picChg chg="del">
          <ac:chgData name="Maureen S. Fleming" userId="55564240-5a0e-4b16-8a23-b6077a4b6df8" providerId="ADAL" clId="{A523986C-F6BF-417F-B370-76E7AC853AD0}" dt="2024-02-07T19:39:00.345" v="246" actId="478"/>
          <ac:picMkLst>
            <pc:docMk/>
            <pc:sldMk cId="3462284235" sldId="2147468936"/>
            <ac:picMk id="12" creationId="{EBBA8D3F-505F-423D-03E0-D40492E1EFD7}"/>
          </ac:picMkLst>
        </pc:picChg>
        <pc:picChg chg="del">
          <ac:chgData name="Maureen S. Fleming" userId="55564240-5a0e-4b16-8a23-b6077a4b6df8" providerId="ADAL" clId="{A523986C-F6BF-417F-B370-76E7AC853AD0}" dt="2024-02-07T19:39:00.345" v="246" actId="478"/>
          <ac:picMkLst>
            <pc:docMk/>
            <pc:sldMk cId="3462284235" sldId="2147468936"/>
            <ac:picMk id="767" creationId="{29D670B7-BDA2-A0FF-14C5-B1BDE284D8EE}"/>
          </ac:picMkLst>
        </pc:picChg>
      </pc:sldChg>
      <pc:sldChg chg="delSp modSp mod">
        <pc:chgData name="Maureen S. Fleming" userId="55564240-5a0e-4b16-8a23-b6077a4b6df8" providerId="ADAL" clId="{A523986C-F6BF-417F-B370-76E7AC853AD0}" dt="2024-02-07T19:39:14.614" v="284" actId="1035"/>
        <pc:sldMkLst>
          <pc:docMk/>
          <pc:sldMk cId="2205314040" sldId="2147468937"/>
        </pc:sldMkLst>
        <pc:spChg chg="mod">
          <ac:chgData name="Maureen S. Fleming" userId="55564240-5a0e-4b16-8a23-b6077a4b6df8" providerId="ADAL" clId="{A523986C-F6BF-417F-B370-76E7AC853AD0}" dt="2024-02-07T19:39:14.614" v="284" actId="1035"/>
          <ac:spMkLst>
            <pc:docMk/>
            <pc:sldMk cId="2205314040" sldId="2147468937"/>
            <ac:spMk id="759" creationId="{3BADE806-97C4-C52D-6972-2F312E7D9938}"/>
          </ac:spMkLst>
        </pc:spChg>
        <pc:spChg chg="mod">
          <ac:chgData name="Maureen S. Fleming" userId="55564240-5a0e-4b16-8a23-b6077a4b6df8" providerId="ADAL" clId="{A523986C-F6BF-417F-B370-76E7AC853AD0}" dt="2024-02-07T19:39:14.614" v="284" actId="1035"/>
          <ac:spMkLst>
            <pc:docMk/>
            <pc:sldMk cId="2205314040" sldId="2147468937"/>
            <ac:spMk id="760" creationId="{16F0A96B-3D1E-E8DF-AC52-46F2C43A756E}"/>
          </ac:spMkLst>
        </pc:spChg>
        <pc:picChg chg="del">
          <ac:chgData name="Maureen S. Fleming" userId="55564240-5a0e-4b16-8a23-b6077a4b6df8" providerId="ADAL" clId="{A523986C-F6BF-417F-B370-76E7AC853AD0}" dt="2024-02-07T19:39:11.163" v="269" actId="478"/>
          <ac:picMkLst>
            <pc:docMk/>
            <pc:sldMk cId="2205314040" sldId="2147468937"/>
            <ac:picMk id="8" creationId="{96DBBE5D-352D-9DBD-4771-06845B15B942}"/>
          </ac:picMkLst>
        </pc:picChg>
        <pc:picChg chg="del">
          <ac:chgData name="Maureen S. Fleming" userId="55564240-5a0e-4b16-8a23-b6077a4b6df8" providerId="ADAL" clId="{A523986C-F6BF-417F-B370-76E7AC853AD0}" dt="2024-02-07T19:39:11.163" v="269" actId="478"/>
          <ac:picMkLst>
            <pc:docMk/>
            <pc:sldMk cId="2205314040" sldId="2147468937"/>
            <ac:picMk id="12" creationId="{FD0BEB1D-8608-52F1-16DA-0814464ED09E}"/>
          </ac:picMkLst>
        </pc:picChg>
        <pc:picChg chg="del">
          <ac:chgData name="Maureen S. Fleming" userId="55564240-5a0e-4b16-8a23-b6077a4b6df8" providerId="ADAL" clId="{A523986C-F6BF-417F-B370-76E7AC853AD0}" dt="2024-02-07T19:39:11.163" v="269" actId="478"/>
          <ac:picMkLst>
            <pc:docMk/>
            <pc:sldMk cId="2205314040" sldId="2147468937"/>
            <ac:picMk id="767" creationId="{29D670B7-BDA2-A0FF-14C5-B1BDE284D8EE}"/>
          </ac:picMkLst>
        </pc:picChg>
      </pc:sldChg>
      <pc:sldChg chg="delSp modSp mod">
        <pc:chgData name="Maureen S. Fleming" userId="55564240-5a0e-4b16-8a23-b6077a4b6df8" providerId="ADAL" clId="{A523986C-F6BF-417F-B370-76E7AC853AD0}" dt="2024-02-07T19:39:24.114" v="299" actId="1035"/>
        <pc:sldMkLst>
          <pc:docMk/>
          <pc:sldMk cId="4002004116" sldId="2147468938"/>
        </pc:sldMkLst>
        <pc:spChg chg="mod">
          <ac:chgData name="Maureen S. Fleming" userId="55564240-5a0e-4b16-8a23-b6077a4b6df8" providerId="ADAL" clId="{A523986C-F6BF-417F-B370-76E7AC853AD0}" dt="2024-02-07T19:39:24.114" v="299" actId="1035"/>
          <ac:spMkLst>
            <pc:docMk/>
            <pc:sldMk cId="4002004116" sldId="2147468938"/>
            <ac:spMk id="14" creationId="{541C1C5B-5CDB-0C33-1361-F6B2E67303C2}"/>
          </ac:spMkLst>
        </pc:spChg>
        <pc:spChg chg="mod">
          <ac:chgData name="Maureen S. Fleming" userId="55564240-5a0e-4b16-8a23-b6077a4b6df8" providerId="ADAL" clId="{A523986C-F6BF-417F-B370-76E7AC853AD0}" dt="2024-02-07T19:39:24.114" v="299" actId="1035"/>
          <ac:spMkLst>
            <pc:docMk/>
            <pc:sldMk cId="4002004116" sldId="2147468938"/>
            <ac:spMk id="759" creationId="{3BADE806-97C4-C52D-6972-2F312E7D9938}"/>
          </ac:spMkLst>
        </pc:spChg>
        <pc:picChg chg="del">
          <ac:chgData name="Maureen S. Fleming" userId="55564240-5a0e-4b16-8a23-b6077a4b6df8" providerId="ADAL" clId="{A523986C-F6BF-417F-B370-76E7AC853AD0}" dt="2024-02-07T19:39:20.456" v="285" actId="478"/>
          <ac:picMkLst>
            <pc:docMk/>
            <pc:sldMk cId="4002004116" sldId="2147468938"/>
            <ac:picMk id="8" creationId="{66D9C178-A38D-E0C8-43C3-BAAB139153AB}"/>
          </ac:picMkLst>
        </pc:picChg>
        <pc:picChg chg="del">
          <ac:chgData name="Maureen S. Fleming" userId="55564240-5a0e-4b16-8a23-b6077a4b6df8" providerId="ADAL" clId="{A523986C-F6BF-417F-B370-76E7AC853AD0}" dt="2024-02-07T19:39:20.456" v="285" actId="478"/>
          <ac:picMkLst>
            <pc:docMk/>
            <pc:sldMk cId="4002004116" sldId="2147468938"/>
            <ac:picMk id="12" creationId="{F766904E-AB03-55AB-45AC-7AD63ABFAD48}"/>
          </ac:picMkLst>
        </pc:picChg>
        <pc:picChg chg="del">
          <ac:chgData name="Maureen S. Fleming" userId="55564240-5a0e-4b16-8a23-b6077a4b6df8" providerId="ADAL" clId="{A523986C-F6BF-417F-B370-76E7AC853AD0}" dt="2024-02-07T19:39:20.456" v="285" actId="478"/>
          <ac:picMkLst>
            <pc:docMk/>
            <pc:sldMk cId="4002004116" sldId="2147468938"/>
            <ac:picMk id="767" creationId="{29D670B7-BDA2-A0FF-14C5-B1BDE284D8EE}"/>
          </ac:picMkLst>
        </pc:picChg>
      </pc:sldChg>
      <pc:sldChg chg="delSp modSp mod">
        <pc:chgData name="Maureen S. Fleming" userId="55564240-5a0e-4b16-8a23-b6077a4b6df8" providerId="ADAL" clId="{A523986C-F6BF-417F-B370-76E7AC853AD0}" dt="2024-02-07T19:36:31.828" v="85" actId="1035"/>
        <pc:sldMkLst>
          <pc:docMk/>
          <pc:sldMk cId="3529569922" sldId="2147468942"/>
        </pc:sldMkLst>
        <pc:spChg chg="mod">
          <ac:chgData name="Maureen S. Fleming" userId="55564240-5a0e-4b16-8a23-b6077a4b6df8" providerId="ADAL" clId="{A523986C-F6BF-417F-B370-76E7AC853AD0}" dt="2024-02-07T19:36:31.828" v="85" actId="1035"/>
          <ac:spMkLst>
            <pc:docMk/>
            <pc:sldMk cId="3529569922" sldId="2147468942"/>
            <ac:spMk id="2" creationId="{2B585466-1D94-2A80-AD45-AAE13DA61DB9}"/>
          </ac:spMkLst>
        </pc:spChg>
        <pc:spChg chg="mod">
          <ac:chgData name="Maureen S. Fleming" userId="55564240-5a0e-4b16-8a23-b6077a4b6df8" providerId="ADAL" clId="{A523986C-F6BF-417F-B370-76E7AC853AD0}" dt="2024-02-07T19:36:31.828" v="85" actId="1035"/>
          <ac:spMkLst>
            <pc:docMk/>
            <pc:sldMk cId="3529569922" sldId="2147468942"/>
            <ac:spMk id="14" creationId="{46347F0B-8426-E7A0-C6B8-B5892D714DD3}"/>
          </ac:spMkLst>
        </pc:spChg>
        <pc:spChg chg="mod">
          <ac:chgData name="Maureen S. Fleming" userId="55564240-5a0e-4b16-8a23-b6077a4b6df8" providerId="ADAL" clId="{A523986C-F6BF-417F-B370-76E7AC853AD0}" dt="2024-02-07T19:36:31.828" v="85" actId="1035"/>
          <ac:spMkLst>
            <pc:docMk/>
            <pc:sldMk cId="3529569922" sldId="2147468942"/>
            <ac:spMk id="751" creationId="{3D178A78-CD9B-9B57-381E-6C79E4F668FB}"/>
          </ac:spMkLst>
        </pc:spChg>
        <pc:spChg chg="mod">
          <ac:chgData name="Maureen S. Fleming" userId="55564240-5a0e-4b16-8a23-b6077a4b6df8" providerId="ADAL" clId="{A523986C-F6BF-417F-B370-76E7AC853AD0}" dt="2024-02-07T19:36:31.828" v="85" actId="1035"/>
          <ac:spMkLst>
            <pc:docMk/>
            <pc:sldMk cId="3529569922" sldId="2147468942"/>
            <ac:spMk id="759" creationId="{3BADE806-97C4-C52D-6972-2F312E7D9938}"/>
          </ac:spMkLst>
        </pc:spChg>
        <pc:picChg chg="del">
          <ac:chgData name="Maureen S. Fleming" userId="55564240-5a0e-4b16-8a23-b6077a4b6df8" providerId="ADAL" clId="{A523986C-F6BF-417F-B370-76E7AC853AD0}" dt="2024-02-07T19:35:55.603" v="25" actId="478"/>
          <ac:picMkLst>
            <pc:docMk/>
            <pc:sldMk cId="3529569922" sldId="2147468942"/>
            <ac:picMk id="8" creationId="{1460A89A-391E-F74D-03EB-873CDD057E31}"/>
          </ac:picMkLst>
        </pc:picChg>
        <pc:picChg chg="del">
          <ac:chgData name="Maureen S. Fleming" userId="55564240-5a0e-4b16-8a23-b6077a4b6df8" providerId="ADAL" clId="{A523986C-F6BF-417F-B370-76E7AC853AD0}" dt="2024-02-07T19:35:55.603" v="25" actId="478"/>
          <ac:picMkLst>
            <pc:docMk/>
            <pc:sldMk cId="3529569922" sldId="2147468942"/>
            <ac:picMk id="12" creationId="{2D1A2B89-FA01-D476-BE32-F8B2BC89E890}"/>
          </ac:picMkLst>
        </pc:picChg>
        <pc:picChg chg="del">
          <ac:chgData name="Maureen S. Fleming" userId="55564240-5a0e-4b16-8a23-b6077a4b6df8" providerId="ADAL" clId="{A523986C-F6BF-417F-B370-76E7AC853AD0}" dt="2024-02-07T19:35:55.603" v="25" actId="478"/>
          <ac:picMkLst>
            <pc:docMk/>
            <pc:sldMk cId="3529569922" sldId="2147468942"/>
            <ac:picMk id="767" creationId="{29D670B7-BDA2-A0FF-14C5-B1BDE284D8EE}"/>
          </ac:picMkLst>
        </pc:picChg>
      </pc:sldChg>
      <pc:sldChg chg="delSp modSp mod">
        <pc:chgData name="Maureen S. Fleming" userId="55564240-5a0e-4b16-8a23-b6077a4b6df8" providerId="ADAL" clId="{A523986C-F6BF-417F-B370-76E7AC853AD0}" dt="2024-02-07T19:43:24.311" v="512" actId="1076"/>
        <pc:sldMkLst>
          <pc:docMk/>
          <pc:sldMk cId="3448432076" sldId="2147468943"/>
        </pc:sldMkLst>
        <pc:spChg chg="mod">
          <ac:chgData name="Maureen S. Fleming" userId="55564240-5a0e-4b16-8a23-b6077a4b6df8" providerId="ADAL" clId="{A523986C-F6BF-417F-B370-76E7AC853AD0}" dt="2024-02-07T19:43:24.311" v="512" actId="1076"/>
          <ac:spMkLst>
            <pc:docMk/>
            <pc:sldMk cId="3448432076" sldId="2147468943"/>
            <ac:spMk id="14" creationId="{484C8367-07F2-CB11-E843-60C7F92B70B9}"/>
          </ac:spMkLst>
        </pc:spChg>
        <pc:spChg chg="mod">
          <ac:chgData name="Maureen S. Fleming" userId="55564240-5a0e-4b16-8a23-b6077a4b6df8" providerId="ADAL" clId="{A523986C-F6BF-417F-B370-76E7AC853AD0}" dt="2024-02-07T19:43:24.311" v="512" actId="1076"/>
          <ac:spMkLst>
            <pc:docMk/>
            <pc:sldMk cId="3448432076" sldId="2147468943"/>
            <ac:spMk id="759" creationId="{3BADE806-97C4-C52D-6972-2F312E7D9938}"/>
          </ac:spMkLst>
        </pc:spChg>
        <pc:picChg chg="del">
          <ac:chgData name="Maureen S. Fleming" userId="55564240-5a0e-4b16-8a23-b6077a4b6df8" providerId="ADAL" clId="{A523986C-F6BF-417F-B370-76E7AC853AD0}" dt="2024-02-07T19:43:20.419" v="511" actId="478"/>
          <ac:picMkLst>
            <pc:docMk/>
            <pc:sldMk cId="3448432076" sldId="2147468943"/>
            <ac:picMk id="8" creationId="{E79E197D-25BB-ED7E-6D85-135F3A8997F0}"/>
          </ac:picMkLst>
        </pc:picChg>
        <pc:picChg chg="del">
          <ac:chgData name="Maureen S. Fleming" userId="55564240-5a0e-4b16-8a23-b6077a4b6df8" providerId="ADAL" clId="{A523986C-F6BF-417F-B370-76E7AC853AD0}" dt="2024-02-07T19:43:20.419" v="511" actId="478"/>
          <ac:picMkLst>
            <pc:docMk/>
            <pc:sldMk cId="3448432076" sldId="2147468943"/>
            <ac:picMk id="12" creationId="{1396CFA1-0BED-F595-3B25-16053E589521}"/>
          </ac:picMkLst>
        </pc:picChg>
        <pc:picChg chg="del">
          <ac:chgData name="Maureen S. Fleming" userId="55564240-5a0e-4b16-8a23-b6077a4b6df8" providerId="ADAL" clId="{A523986C-F6BF-417F-B370-76E7AC853AD0}" dt="2024-02-07T19:43:20.419" v="511" actId="478"/>
          <ac:picMkLst>
            <pc:docMk/>
            <pc:sldMk cId="3448432076" sldId="2147468943"/>
            <ac:picMk id="767" creationId="{29D670B7-BDA2-A0FF-14C5-B1BDE284D8EE}"/>
          </ac:picMkLst>
        </pc:picChg>
      </pc:sldChg>
      <pc:sldChg chg="delSp modSp mod">
        <pc:chgData name="Maureen S. Fleming" userId="55564240-5a0e-4b16-8a23-b6077a4b6df8" providerId="ADAL" clId="{A523986C-F6BF-417F-B370-76E7AC853AD0}" dt="2024-02-07T19:50:53.651" v="1331" actId="1035"/>
        <pc:sldMkLst>
          <pc:docMk/>
          <pc:sldMk cId="1326149201" sldId="2147468944"/>
        </pc:sldMkLst>
        <pc:spChg chg="mod">
          <ac:chgData name="Maureen S. Fleming" userId="55564240-5a0e-4b16-8a23-b6077a4b6df8" providerId="ADAL" clId="{A523986C-F6BF-417F-B370-76E7AC853AD0}" dt="2024-02-07T19:50:53.651" v="1331" actId="1035"/>
          <ac:spMkLst>
            <pc:docMk/>
            <pc:sldMk cId="1326149201" sldId="2147468944"/>
            <ac:spMk id="12" creationId="{5757B441-2F98-1B08-7784-ED06BB5784D4}"/>
          </ac:spMkLst>
        </pc:spChg>
        <pc:spChg chg="mod">
          <ac:chgData name="Maureen S. Fleming" userId="55564240-5a0e-4b16-8a23-b6077a4b6df8" providerId="ADAL" clId="{A523986C-F6BF-417F-B370-76E7AC853AD0}" dt="2024-02-07T19:50:53.651" v="1331" actId="1035"/>
          <ac:spMkLst>
            <pc:docMk/>
            <pc:sldMk cId="1326149201" sldId="2147468944"/>
            <ac:spMk id="759" creationId="{3BADE806-97C4-C52D-6972-2F312E7D9938}"/>
          </ac:spMkLst>
        </pc:spChg>
        <pc:picChg chg="del">
          <ac:chgData name="Maureen S. Fleming" userId="55564240-5a0e-4b16-8a23-b6077a4b6df8" providerId="ADAL" clId="{A523986C-F6BF-417F-B370-76E7AC853AD0}" dt="2024-02-07T19:50:48.152" v="1309" actId="478"/>
          <ac:picMkLst>
            <pc:docMk/>
            <pc:sldMk cId="1326149201" sldId="2147468944"/>
            <ac:picMk id="8" creationId="{7749789A-8170-254D-416F-1861D98E3734}"/>
          </ac:picMkLst>
        </pc:picChg>
        <pc:picChg chg="del">
          <ac:chgData name="Maureen S. Fleming" userId="55564240-5a0e-4b16-8a23-b6077a4b6df8" providerId="ADAL" clId="{A523986C-F6BF-417F-B370-76E7AC853AD0}" dt="2024-02-07T19:50:48.152" v="1309" actId="478"/>
          <ac:picMkLst>
            <pc:docMk/>
            <pc:sldMk cId="1326149201" sldId="2147468944"/>
            <ac:picMk id="767" creationId="{29D670B7-BDA2-A0FF-14C5-B1BDE284D8EE}"/>
          </ac:picMkLst>
        </pc:picChg>
        <pc:picChg chg="del">
          <ac:chgData name="Maureen S. Fleming" userId="55564240-5a0e-4b16-8a23-b6077a4b6df8" providerId="ADAL" clId="{A523986C-F6BF-417F-B370-76E7AC853AD0}" dt="2024-02-07T19:50:48.152" v="1309" actId="478"/>
          <ac:picMkLst>
            <pc:docMk/>
            <pc:sldMk cId="1326149201" sldId="2147468944"/>
            <ac:picMk id="1026" creationId="{91BADC15-A1EF-DC06-C5EF-D39F1A22052A}"/>
          </ac:picMkLst>
        </pc:picChg>
      </pc:sldChg>
      <pc:sldChg chg="delSp modSp mod">
        <pc:chgData name="Maureen S. Fleming" userId="55564240-5a0e-4b16-8a23-b6077a4b6df8" providerId="ADAL" clId="{A523986C-F6BF-417F-B370-76E7AC853AD0}" dt="2024-02-07T19:43:33.328" v="526" actId="1035"/>
        <pc:sldMkLst>
          <pc:docMk/>
          <pc:sldMk cId="1735554843" sldId="2147468945"/>
        </pc:sldMkLst>
        <pc:spChg chg="mod">
          <ac:chgData name="Maureen S. Fleming" userId="55564240-5a0e-4b16-8a23-b6077a4b6df8" providerId="ADAL" clId="{A523986C-F6BF-417F-B370-76E7AC853AD0}" dt="2024-02-07T19:43:33.328" v="526" actId="1035"/>
          <ac:spMkLst>
            <pc:docMk/>
            <pc:sldMk cId="1735554843" sldId="2147468945"/>
            <ac:spMk id="8" creationId="{7683187A-B87D-8709-88E5-93D0DF83D349}"/>
          </ac:spMkLst>
        </pc:spChg>
        <pc:spChg chg="mod">
          <ac:chgData name="Maureen S. Fleming" userId="55564240-5a0e-4b16-8a23-b6077a4b6df8" providerId="ADAL" clId="{A523986C-F6BF-417F-B370-76E7AC853AD0}" dt="2024-02-07T19:43:33.328" v="526" actId="1035"/>
          <ac:spMkLst>
            <pc:docMk/>
            <pc:sldMk cId="1735554843" sldId="2147468945"/>
            <ac:spMk id="759" creationId="{3BADE806-97C4-C52D-6972-2F312E7D9938}"/>
          </ac:spMkLst>
        </pc:spChg>
        <pc:picChg chg="del">
          <ac:chgData name="Maureen S. Fleming" userId="55564240-5a0e-4b16-8a23-b6077a4b6df8" providerId="ADAL" clId="{A523986C-F6BF-417F-B370-76E7AC853AD0}" dt="2024-02-07T19:43:28.628" v="513" actId="478"/>
          <ac:picMkLst>
            <pc:docMk/>
            <pc:sldMk cId="1735554843" sldId="2147468945"/>
            <ac:picMk id="14" creationId="{0368F288-2621-7559-BA44-BE07D1C18CA6}"/>
          </ac:picMkLst>
        </pc:picChg>
        <pc:picChg chg="del">
          <ac:chgData name="Maureen S. Fleming" userId="55564240-5a0e-4b16-8a23-b6077a4b6df8" providerId="ADAL" clId="{A523986C-F6BF-417F-B370-76E7AC853AD0}" dt="2024-02-07T19:43:28.628" v="513" actId="478"/>
          <ac:picMkLst>
            <pc:docMk/>
            <pc:sldMk cId="1735554843" sldId="2147468945"/>
            <ac:picMk id="15" creationId="{164CC478-442A-4AC8-F23F-7C383ECD0B20}"/>
          </ac:picMkLst>
        </pc:picChg>
        <pc:picChg chg="del">
          <ac:chgData name="Maureen S. Fleming" userId="55564240-5a0e-4b16-8a23-b6077a4b6df8" providerId="ADAL" clId="{A523986C-F6BF-417F-B370-76E7AC853AD0}" dt="2024-02-07T19:43:28.628" v="513" actId="478"/>
          <ac:picMkLst>
            <pc:docMk/>
            <pc:sldMk cId="1735554843" sldId="2147468945"/>
            <ac:picMk id="767" creationId="{29D670B7-BDA2-A0FF-14C5-B1BDE284D8EE}"/>
          </ac:picMkLst>
        </pc:picChg>
      </pc:sldChg>
      <pc:sldChg chg="delSp modSp mod">
        <pc:chgData name="Maureen S. Fleming" userId="55564240-5a0e-4b16-8a23-b6077a4b6df8" providerId="ADAL" clId="{A523986C-F6BF-417F-B370-76E7AC853AD0}" dt="2024-02-07T19:39:36.679" v="319" actId="1035"/>
        <pc:sldMkLst>
          <pc:docMk/>
          <pc:sldMk cId="4240200074" sldId="2147468946"/>
        </pc:sldMkLst>
        <pc:spChg chg="mod">
          <ac:chgData name="Maureen S. Fleming" userId="55564240-5a0e-4b16-8a23-b6077a4b6df8" providerId="ADAL" clId="{A523986C-F6BF-417F-B370-76E7AC853AD0}" dt="2024-02-07T19:39:36.679" v="319" actId="1035"/>
          <ac:spMkLst>
            <pc:docMk/>
            <pc:sldMk cId="4240200074" sldId="2147468946"/>
            <ac:spMk id="14" creationId="{2ADFD4D1-F498-5AE2-2110-81F48ED261B5}"/>
          </ac:spMkLst>
        </pc:spChg>
        <pc:spChg chg="mod">
          <ac:chgData name="Maureen S. Fleming" userId="55564240-5a0e-4b16-8a23-b6077a4b6df8" providerId="ADAL" clId="{A523986C-F6BF-417F-B370-76E7AC853AD0}" dt="2024-02-07T19:39:36.679" v="319" actId="1035"/>
          <ac:spMkLst>
            <pc:docMk/>
            <pc:sldMk cId="4240200074" sldId="2147468946"/>
            <ac:spMk id="759" creationId="{3BADE806-97C4-C52D-6972-2F312E7D9938}"/>
          </ac:spMkLst>
        </pc:spChg>
        <pc:picChg chg="del">
          <ac:chgData name="Maureen S. Fleming" userId="55564240-5a0e-4b16-8a23-b6077a4b6df8" providerId="ADAL" clId="{A523986C-F6BF-417F-B370-76E7AC853AD0}" dt="2024-02-07T19:39:28.799" v="300" actId="478"/>
          <ac:picMkLst>
            <pc:docMk/>
            <pc:sldMk cId="4240200074" sldId="2147468946"/>
            <ac:picMk id="8" creationId="{CB6A98A3-5D58-F7AA-A3BE-5844E7389D6D}"/>
          </ac:picMkLst>
        </pc:picChg>
        <pc:picChg chg="del">
          <ac:chgData name="Maureen S. Fleming" userId="55564240-5a0e-4b16-8a23-b6077a4b6df8" providerId="ADAL" clId="{A523986C-F6BF-417F-B370-76E7AC853AD0}" dt="2024-02-07T19:39:28.799" v="300" actId="478"/>
          <ac:picMkLst>
            <pc:docMk/>
            <pc:sldMk cId="4240200074" sldId="2147468946"/>
            <ac:picMk id="12" creationId="{D9A7D815-6D47-1908-4858-332500316969}"/>
          </ac:picMkLst>
        </pc:picChg>
        <pc:picChg chg="del">
          <ac:chgData name="Maureen S. Fleming" userId="55564240-5a0e-4b16-8a23-b6077a4b6df8" providerId="ADAL" clId="{A523986C-F6BF-417F-B370-76E7AC853AD0}" dt="2024-02-07T19:39:28.799" v="300" actId="478"/>
          <ac:picMkLst>
            <pc:docMk/>
            <pc:sldMk cId="4240200074" sldId="2147468946"/>
            <ac:picMk id="767" creationId="{29D670B7-BDA2-A0FF-14C5-B1BDE284D8EE}"/>
          </ac:picMkLst>
        </pc:picChg>
      </pc:sldChg>
      <pc:sldChg chg="delSp modSp mod">
        <pc:chgData name="Maureen S. Fleming" userId="55564240-5a0e-4b16-8a23-b6077a4b6df8" providerId="ADAL" clId="{A523986C-F6BF-417F-B370-76E7AC853AD0}" dt="2024-02-07T19:44:36.042" v="627" actId="1035"/>
        <pc:sldMkLst>
          <pc:docMk/>
          <pc:sldMk cId="39787549" sldId="2147468947"/>
        </pc:sldMkLst>
        <pc:spChg chg="mod">
          <ac:chgData name="Maureen S. Fleming" userId="55564240-5a0e-4b16-8a23-b6077a4b6df8" providerId="ADAL" clId="{A523986C-F6BF-417F-B370-76E7AC853AD0}" dt="2024-02-07T19:44:36.042" v="627" actId="1035"/>
          <ac:spMkLst>
            <pc:docMk/>
            <pc:sldMk cId="39787549" sldId="2147468947"/>
            <ac:spMk id="14" creationId="{047A66B5-097B-3306-39B0-9C455D4B2B0B}"/>
          </ac:spMkLst>
        </pc:spChg>
        <pc:spChg chg="mod">
          <ac:chgData name="Maureen S. Fleming" userId="55564240-5a0e-4b16-8a23-b6077a4b6df8" providerId="ADAL" clId="{A523986C-F6BF-417F-B370-76E7AC853AD0}" dt="2024-02-07T19:44:36.042" v="627" actId="1035"/>
          <ac:spMkLst>
            <pc:docMk/>
            <pc:sldMk cId="39787549" sldId="2147468947"/>
            <ac:spMk id="759" creationId="{3BADE806-97C4-C52D-6972-2F312E7D9938}"/>
          </ac:spMkLst>
        </pc:spChg>
        <pc:picChg chg="del">
          <ac:chgData name="Maureen S. Fleming" userId="55564240-5a0e-4b16-8a23-b6077a4b6df8" providerId="ADAL" clId="{A523986C-F6BF-417F-B370-76E7AC853AD0}" dt="2024-02-07T19:44:29.964" v="609" actId="478"/>
          <ac:picMkLst>
            <pc:docMk/>
            <pc:sldMk cId="39787549" sldId="2147468947"/>
            <ac:picMk id="8" creationId="{B1B97962-3A57-9639-B147-07ECD7A82976}"/>
          </ac:picMkLst>
        </pc:picChg>
        <pc:picChg chg="del">
          <ac:chgData name="Maureen S. Fleming" userId="55564240-5a0e-4b16-8a23-b6077a4b6df8" providerId="ADAL" clId="{A523986C-F6BF-417F-B370-76E7AC853AD0}" dt="2024-02-07T19:44:29.964" v="609" actId="478"/>
          <ac:picMkLst>
            <pc:docMk/>
            <pc:sldMk cId="39787549" sldId="2147468947"/>
            <ac:picMk id="12" creationId="{5208E5D4-0685-7F74-28A9-44163718ECFF}"/>
          </ac:picMkLst>
        </pc:picChg>
        <pc:picChg chg="del">
          <ac:chgData name="Maureen S. Fleming" userId="55564240-5a0e-4b16-8a23-b6077a4b6df8" providerId="ADAL" clId="{A523986C-F6BF-417F-B370-76E7AC853AD0}" dt="2024-02-07T19:44:29.964" v="609" actId="478"/>
          <ac:picMkLst>
            <pc:docMk/>
            <pc:sldMk cId="39787549" sldId="2147468947"/>
            <ac:picMk id="767" creationId="{29D670B7-BDA2-A0FF-14C5-B1BDE284D8EE}"/>
          </ac:picMkLst>
        </pc:picChg>
      </pc:sldChg>
      <pc:sldChg chg="delSp modSp mod">
        <pc:chgData name="Maureen S. Fleming" userId="55564240-5a0e-4b16-8a23-b6077a4b6df8" providerId="ADAL" clId="{A523986C-F6BF-417F-B370-76E7AC853AD0}" dt="2024-02-07T19:39:49.380" v="337" actId="1035"/>
        <pc:sldMkLst>
          <pc:docMk/>
          <pc:sldMk cId="3455779013" sldId="2147468948"/>
        </pc:sldMkLst>
        <pc:spChg chg="mod">
          <ac:chgData name="Maureen S. Fleming" userId="55564240-5a0e-4b16-8a23-b6077a4b6df8" providerId="ADAL" clId="{A523986C-F6BF-417F-B370-76E7AC853AD0}" dt="2024-02-07T19:39:49.380" v="337" actId="1035"/>
          <ac:spMkLst>
            <pc:docMk/>
            <pc:sldMk cId="3455779013" sldId="2147468948"/>
            <ac:spMk id="12" creationId="{D636D354-D9BE-CBE6-700E-D36532ED1F7B}"/>
          </ac:spMkLst>
        </pc:spChg>
        <pc:spChg chg="mod">
          <ac:chgData name="Maureen S. Fleming" userId="55564240-5a0e-4b16-8a23-b6077a4b6df8" providerId="ADAL" clId="{A523986C-F6BF-417F-B370-76E7AC853AD0}" dt="2024-02-07T19:39:49.380" v="337" actId="1035"/>
          <ac:spMkLst>
            <pc:docMk/>
            <pc:sldMk cId="3455779013" sldId="2147468948"/>
            <ac:spMk id="759" creationId="{3BADE806-97C4-C52D-6972-2F312E7D9938}"/>
          </ac:spMkLst>
        </pc:spChg>
        <pc:picChg chg="del">
          <ac:chgData name="Maureen S. Fleming" userId="55564240-5a0e-4b16-8a23-b6077a4b6df8" providerId="ADAL" clId="{A523986C-F6BF-417F-B370-76E7AC853AD0}" dt="2024-02-07T19:39:45.996" v="320" actId="478"/>
          <ac:picMkLst>
            <pc:docMk/>
            <pc:sldMk cId="3455779013" sldId="2147468948"/>
            <ac:picMk id="8" creationId="{51615BC0-BDA7-0427-71B5-6A99FB753E9E}"/>
          </ac:picMkLst>
        </pc:picChg>
        <pc:picChg chg="del">
          <ac:chgData name="Maureen S. Fleming" userId="55564240-5a0e-4b16-8a23-b6077a4b6df8" providerId="ADAL" clId="{A523986C-F6BF-417F-B370-76E7AC853AD0}" dt="2024-02-07T19:39:45.996" v="320" actId="478"/>
          <ac:picMkLst>
            <pc:docMk/>
            <pc:sldMk cId="3455779013" sldId="2147468948"/>
            <ac:picMk id="767" creationId="{29D670B7-BDA2-A0FF-14C5-B1BDE284D8EE}"/>
          </ac:picMkLst>
        </pc:picChg>
        <pc:picChg chg="del">
          <ac:chgData name="Maureen S. Fleming" userId="55564240-5a0e-4b16-8a23-b6077a4b6df8" providerId="ADAL" clId="{A523986C-F6BF-417F-B370-76E7AC853AD0}" dt="2024-02-07T19:39:45.996" v="320" actId="478"/>
          <ac:picMkLst>
            <pc:docMk/>
            <pc:sldMk cId="3455779013" sldId="2147468948"/>
            <ac:picMk id="1026" creationId="{91BADC15-A1EF-DC06-C5EF-D39F1A22052A}"/>
          </ac:picMkLst>
        </pc:picChg>
      </pc:sldChg>
      <pc:sldChg chg="delSp modSp mod">
        <pc:chgData name="Maureen S. Fleming" userId="55564240-5a0e-4b16-8a23-b6077a4b6df8" providerId="ADAL" clId="{A523986C-F6BF-417F-B370-76E7AC853AD0}" dt="2024-02-07T19:40:00.362" v="362" actId="1035"/>
        <pc:sldMkLst>
          <pc:docMk/>
          <pc:sldMk cId="1125405118" sldId="2147468949"/>
        </pc:sldMkLst>
        <pc:spChg chg="mod">
          <ac:chgData name="Maureen S. Fleming" userId="55564240-5a0e-4b16-8a23-b6077a4b6df8" providerId="ADAL" clId="{A523986C-F6BF-417F-B370-76E7AC853AD0}" dt="2024-02-07T19:40:00.362" v="362" actId="1035"/>
          <ac:spMkLst>
            <pc:docMk/>
            <pc:sldMk cId="1125405118" sldId="2147468949"/>
            <ac:spMk id="14" creationId="{5C615C48-C7F7-17F8-51F7-204A4B8CF6EB}"/>
          </ac:spMkLst>
        </pc:spChg>
        <pc:spChg chg="mod">
          <ac:chgData name="Maureen S. Fleming" userId="55564240-5a0e-4b16-8a23-b6077a4b6df8" providerId="ADAL" clId="{A523986C-F6BF-417F-B370-76E7AC853AD0}" dt="2024-02-07T19:40:00.362" v="362" actId="1035"/>
          <ac:spMkLst>
            <pc:docMk/>
            <pc:sldMk cId="1125405118" sldId="2147468949"/>
            <ac:spMk id="759" creationId="{3BADE806-97C4-C52D-6972-2F312E7D9938}"/>
          </ac:spMkLst>
        </pc:spChg>
        <pc:picChg chg="del">
          <ac:chgData name="Maureen S. Fleming" userId="55564240-5a0e-4b16-8a23-b6077a4b6df8" providerId="ADAL" clId="{A523986C-F6BF-417F-B370-76E7AC853AD0}" dt="2024-02-07T19:39:55.481" v="338" actId="478"/>
          <ac:picMkLst>
            <pc:docMk/>
            <pc:sldMk cId="1125405118" sldId="2147468949"/>
            <ac:picMk id="8" creationId="{549C4A06-18BB-0062-B240-291547F92040}"/>
          </ac:picMkLst>
        </pc:picChg>
        <pc:picChg chg="del">
          <ac:chgData name="Maureen S. Fleming" userId="55564240-5a0e-4b16-8a23-b6077a4b6df8" providerId="ADAL" clId="{A523986C-F6BF-417F-B370-76E7AC853AD0}" dt="2024-02-07T19:39:55.481" v="338" actId="478"/>
          <ac:picMkLst>
            <pc:docMk/>
            <pc:sldMk cId="1125405118" sldId="2147468949"/>
            <ac:picMk id="12" creationId="{589EBFD8-8689-93E4-2D7A-2D058ED4C2E1}"/>
          </ac:picMkLst>
        </pc:picChg>
        <pc:picChg chg="del">
          <ac:chgData name="Maureen S. Fleming" userId="55564240-5a0e-4b16-8a23-b6077a4b6df8" providerId="ADAL" clId="{A523986C-F6BF-417F-B370-76E7AC853AD0}" dt="2024-02-07T19:39:55.481" v="338" actId="478"/>
          <ac:picMkLst>
            <pc:docMk/>
            <pc:sldMk cId="1125405118" sldId="2147468949"/>
            <ac:picMk id="767" creationId="{29D670B7-BDA2-A0FF-14C5-B1BDE284D8EE}"/>
          </ac:picMkLst>
        </pc:picChg>
      </pc:sldChg>
      <pc:sldChg chg="delSp modSp mod">
        <pc:chgData name="Maureen S. Fleming" userId="55564240-5a0e-4b16-8a23-b6077a4b6df8" providerId="ADAL" clId="{A523986C-F6BF-417F-B370-76E7AC853AD0}" dt="2024-02-07T19:43:42.705" v="528" actId="1076"/>
        <pc:sldMkLst>
          <pc:docMk/>
          <pc:sldMk cId="2193833143" sldId="2147468950"/>
        </pc:sldMkLst>
        <pc:spChg chg="mod">
          <ac:chgData name="Maureen S. Fleming" userId="55564240-5a0e-4b16-8a23-b6077a4b6df8" providerId="ADAL" clId="{A523986C-F6BF-417F-B370-76E7AC853AD0}" dt="2024-02-07T19:43:42.705" v="528" actId="1076"/>
          <ac:spMkLst>
            <pc:docMk/>
            <pc:sldMk cId="2193833143" sldId="2147468950"/>
            <ac:spMk id="16" creationId="{46D33723-5732-933F-7FD0-E2F5F65DD3DA}"/>
          </ac:spMkLst>
        </pc:spChg>
        <pc:spChg chg="mod">
          <ac:chgData name="Maureen S. Fleming" userId="55564240-5a0e-4b16-8a23-b6077a4b6df8" providerId="ADAL" clId="{A523986C-F6BF-417F-B370-76E7AC853AD0}" dt="2024-02-07T19:43:42.705" v="528" actId="1076"/>
          <ac:spMkLst>
            <pc:docMk/>
            <pc:sldMk cId="2193833143" sldId="2147468950"/>
            <ac:spMk id="760" creationId="{16F0A96B-3D1E-E8DF-AC52-46F2C43A756E}"/>
          </ac:spMkLst>
        </pc:spChg>
        <pc:picChg chg="del">
          <ac:chgData name="Maureen S. Fleming" userId="55564240-5a0e-4b16-8a23-b6077a4b6df8" providerId="ADAL" clId="{A523986C-F6BF-417F-B370-76E7AC853AD0}" dt="2024-02-07T19:43:38.976" v="527" actId="478"/>
          <ac:picMkLst>
            <pc:docMk/>
            <pc:sldMk cId="2193833143" sldId="2147468950"/>
            <ac:picMk id="12" creationId="{AD50E9A6-1748-57FE-4FE4-5E8D6AE2651B}"/>
          </ac:picMkLst>
        </pc:picChg>
        <pc:picChg chg="del">
          <ac:chgData name="Maureen S. Fleming" userId="55564240-5a0e-4b16-8a23-b6077a4b6df8" providerId="ADAL" clId="{A523986C-F6BF-417F-B370-76E7AC853AD0}" dt="2024-02-07T19:43:38.976" v="527" actId="478"/>
          <ac:picMkLst>
            <pc:docMk/>
            <pc:sldMk cId="2193833143" sldId="2147468950"/>
            <ac:picMk id="15" creationId="{AF7D5CBA-1D73-E025-A7E3-5A9C4AFF6A7C}"/>
          </ac:picMkLst>
        </pc:picChg>
        <pc:picChg chg="del">
          <ac:chgData name="Maureen S. Fleming" userId="55564240-5a0e-4b16-8a23-b6077a4b6df8" providerId="ADAL" clId="{A523986C-F6BF-417F-B370-76E7AC853AD0}" dt="2024-02-07T19:43:38.976" v="527" actId="478"/>
          <ac:picMkLst>
            <pc:docMk/>
            <pc:sldMk cId="2193833143" sldId="2147468950"/>
            <ac:picMk id="767" creationId="{29D670B7-BDA2-A0FF-14C5-B1BDE284D8EE}"/>
          </ac:picMkLst>
        </pc:picChg>
      </pc:sldChg>
      <pc:sldChg chg="delSp modSp mod">
        <pc:chgData name="Maureen S. Fleming" userId="55564240-5a0e-4b16-8a23-b6077a4b6df8" providerId="ADAL" clId="{A523986C-F6BF-417F-B370-76E7AC853AD0}" dt="2024-02-07T19:40:11.463" v="364" actId="1076"/>
        <pc:sldMkLst>
          <pc:docMk/>
          <pc:sldMk cId="727659321" sldId="2147468951"/>
        </pc:sldMkLst>
        <pc:spChg chg="mod">
          <ac:chgData name="Maureen S. Fleming" userId="55564240-5a0e-4b16-8a23-b6077a4b6df8" providerId="ADAL" clId="{A523986C-F6BF-417F-B370-76E7AC853AD0}" dt="2024-02-07T19:40:11.463" v="364" actId="1076"/>
          <ac:spMkLst>
            <pc:docMk/>
            <pc:sldMk cId="727659321" sldId="2147468951"/>
            <ac:spMk id="14" creationId="{6CA68B33-5110-68D9-F384-C43659C9C3ED}"/>
          </ac:spMkLst>
        </pc:spChg>
        <pc:spChg chg="mod">
          <ac:chgData name="Maureen S. Fleming" userId="55564240-5a0e-4b16-8a23-b6077a4b6df8" providerId="ADAL" clId="{A523986C-F6BF-417F-B370-76E7AC853AD0}" dt="2024-02-07T19:40:11.463" v="364" actId="1076"/>
          <ac:spMkLst>
            <pc:docMk/>
            <pc:sldMk cId="727659321" sldId="2147468951"/>
            <ac:spMk id="759" creationId="{3BADE806-97C4-C52D-6972-2F312E7D9938}"/>
          </ac:spMkLst>
        </pc:spChg>
        <pc:picChg chg="del">
          <ac:chgData name="Maureen S. Fleming" userId="55564240-5a0e-4b16-8a23-b6077a4b6df8" providerId="ADAL" clId="{A523986C-F6BF-417F-B370-76E7AC853AD0}" dt="2024-02-07T19:40:05.728" v="363" actId="478"/>
          <ac:picMkLst>
            <pc:docMk/>
            <pc:sldMk cId="727659321" sldId="2147468951"/>
            <ac:picMk id="3" creationId="{EBCEB20F-7A5C-A5F0-2179-1EBDD17610FE}"/>
          </ac:picMkLst>
        </pc:picChg>
        <pc:picChg chg="del">
          <ac:chgData name="Maureen S. Fleming" userId="55564240-5a0e-4b16-8a23-b6077a4b6df8" providerId="ADAL" clId="{A523986C-F6BF-417F-B370-76E7AC853AD0}" dt="2024-02-07T19:40:05.728" v="363" actId="478"/>
          <ac:picMkLst>
            <pc:docMk/>
            <pc:sldMk cId="727659321" sldId="2147468951"/>
            <ac:picMk id="8" creationId="{E1DD171F-23DD-1909-1052-54FB814DD568}"/>
          </ac:picMkLst>
        </pc:picChg>
        <pc:picChg chg="del">
          <ac:chgData name="Maureen S. Fleming" userId="55564240-5a0e-4b16-8a23-b6077a4b6df8" providerId="ADAL" clId="{A523986C-F6BF-417F-B370-76E7AC853AD0}" dt="2024-02-07T19:40:05.728" v="363" actId="478"/>
          <ac:picMkLst>
            <pc:docMk/>
            <pc:sldMk cId="727659321" sldId="2147468951"/>
            <ac:picMk id="767" creationId="{29D670B7-BDA2-A0FF-14C5-B1BDE284D8EE}"/>
          </ac:picMkLst>
        </pc:picChg>
      </pc:sldChg>
      <pc:sldChg chg="delSp modSp mod">
        <pc:chgData name="Maureen S. Fleming" userId="55564240-5a0e-4b16-8a23-b6077a4b6df8" providerId="ADAL" clId="{A523986C-F6BF-417F-B370-76E7AC853AD0}" dt="2024-02-07T19:42:52.684" v="506" actId="1076"/>
        <pc:sldMkLst>
          <pc:docMk/>
          <pc:sldMk cId="320700284" sldId="2147468952"/>
        </pc:sldMkLst>
        <pc:spChg chg="mod">
          <ac:chgData name="Maureen S. Fleming" userId="55564240-5a0e-4b16-8a23-b6077a4b6df8" providerId="ADAL" clId="{A523986C-F6BF-417F-B370-76E7AC853AD0}" dt="2024-02-07T19:42:52.684" v="506" actId="1076"/>
          <ac:spMkLst>
            <pc:docMk/>
            <pc:sldMk cId="320700284" sldId="2147468952"/>
            <ac:spMk id="14" creationId="{AB97C5B5-72BE-0D67-F5B9-A4AA7E55B95A}"/>
          </ac:spMkLst>
        </pc:spChg>
        <pc:spChg chg="mod">
          <ac:chgData name="Maureen S. Fleming" userId="55564240-5a0e-4b16-8a23-b6077a4b6df8" providerId="ADAL" clId="{A523986C-F6BF-417F-B370-76E7AC853AD0}" dt="2024-02-07T19:42:52.684" v="506" actId="1076"/>
          <ac:spMkLst>
            <pc:docMk/>
            <pc:sldMk cId="320700284" sldId="2147468952"/>
            <ac:spMk id="759" creationId="{3BADE806-97C4-C52D-6972-2F312E7D9938}"/>
          </ac:spMkLst>
        </pc:spChg>
        <pc:picChg chg="del">
          <ac:chgData name="Maureen S. Fleming" userId="55564240-5a0e-4b16-8a23-b6077a4b6df8" providerId="ADAL" clId="{A523986C-F6BF-417F-B370-76E7AC853AD0}" dt="2024-02-07T19:42:46.322" v="505" actId="478"/>
          <ac:picMkLst>
            <pc:docMk/>
            <pc:sldMk cId="320700284" sldId="2147468952"/>
            <ac:picMk id="8" creationId="{29AD1B3E-9AA5-43F5-3131-0145AD012FB9}"/>
          </ac:picMkLst>
        </pc:picChg>
        <pc:picChg chg="del">
          <ac:chgData name="Maureen S. Fleming" userId="55564240-5a0e-4b16-8a23-b6077a4b6df8" providerId="ADAL" clId="{A523986C-F6BF-417F-B370-76E7AC853AD0}" dt="2024-02-07T19:42:46.322" v="505" actId="478"/>
          <ac:picMkLst>
            <pc:docMk/>
            <pc:sldMk cId="320700284" sldId="2147468952"/>
            <ac:picMk id="12" creationId="{7B10CA50-668D-D6E4-DF7E-A1EFDCC22E7A}"/>
          </ac:picMkLst>
        </pc:picChg>
        <pc:picChg chg="del">
          <ac:chgData name="Maureen S. Fleming" userId="55564240-5a0e-4b16-8a23-b6077a4b6df8" providerId="ADAL" clId="{A523986C-F6BF-417F-B370-76E7AC853AD0}" dt="2024-02-07T19:42:46.322" v="505" actId="478"/>
          <ac:picMkLst>
            <pc:docMk/>
            <pc:sldMk cId="320700284" sldId="2147468952"/>
            <ac:picMk id="767" creationId="{29D670B7-BDA2-A0FF-14C5-B1BDE284D8EE}"/>
          </ac:picMkLst>
        </pc:picChg>
      </pc:sldChg>
      <pc:sldChg chg="delSp modSp mod">
        <pc:chgData name="Maureen S. Fleming" userId="55564240-5a0e-4b16-8a23-b6077a4b6df8" providerId="ADAL" clId="{A523986C-F6BF-417F-B370-76E7AC853AD0}" dt="2024-02-07T19:53:16.869" v="1536" actId="1035"/>
        <pc:sldMkLst>
          <pc:docMk/>
          <pc:sldMk cId="4159195372" sldId="2147468953"/>
        </pc:sldMkLst>
        <pc:spChg chg="mod">
          <ac:chgData name="Maureen S. Fleming" userId="55564240-5a0e-4b16-8a23-b6077a4b6df8" providerId="ADAL" clId="{A523986C-F6BF-417F-B370-76E7AC853AD0}" dt="2024-02-07T19:53:16.869" v="1536" actId="1035"/>
          <ac:spMkLst>
            <pc:docMk/>
            <pc:sldMk cId="4159195372" sldId="2147468953"/>
            <ac:spMk id="14" creationId="{B290EE79-E674-B37A-0F64-B2B29C67D82E}"/>
          </ac:spMkLst>
        </pc:spChg>
        <pc:spChg chg="mod">
          <ac:chgData name="Maureen S. Fleming" userId="55564240-5a0e-4b16-8a23-b6077a4b6df8" providerId="ADAL" clId="{A523986C-F6BF-417F-B370-76E7AC853AD0}" dt="2024-02-07T19:53:16.869" v="1536" actId="1035"/>
          <ac:spMkLst>
            <pc:docMk/>
            <pc:sldMk cId="4159195372" sldId="2147468953"/>
            <ac:spMk id="759" creationId="{3BADE806-97C4-C52D-6972-2F312E7D9938}"/>
          </ac:spMkLst>
        </pc:spChg>
        <pc:picChg chg="del">
          <ac:chgData name="Maureen S. Fleming" userId="55564240-5a0e-4b16-8a23-b6077a4b6df8" providerId="ADAL" clId="{A523986C-F6BF-417F-B370-76E7AC853AD0}" dt="2024-02-07T19:53:10.682" v="1511" actId="478"/>
          <ac:picMkLst>
            <pc:docMk/>
            <pc:sldMk cId="4159195372" sldId="2147468953"/>
            <ac:picMk id="8" creationId="{935BF220-ADEC-A831-8F52-B03613837F54}"/>
          </ac:picMkLst>
        </pc:picChg>
        <pc:picChg chg="del">
          <ac:chgData name="Maureen S. Fleming" userId="55564240-5a0e-4b16-8a23-b6077a4b6df8" providerId="ADAL" clId="{A523986C-F6BF-417F-B370-76E7AC853AD0}" dt="2024-02-07T19:53:10.682" v="1511" actId="478"/>
          <ac:picMkLst>
            <pc:docMk/>
            <pc:sldMk cId="4159195372" sldId="2147468953"/>
            <ac:picMk id="12" creationId="{E890507C-963B-531E-187E-B47A5BCB1E43}"/>
          </ac:picMkLst>
        </pc:picChg>
        <pc:picChg chg="del">
          <ac:chgData name="Maureen S. Fleming" userId="55564240-5a0e-4b16-8a23-b6077a4b6df8" providerId="ADAL" clId="{A523986C-F6BF-417F-B370-76E7AC853AD0}" dt="2024-02-07T19:53:10.682" v="1511" actId="478"/>
          <ac:picMkLst>
            <pc:docMk/>
            <pc:sldMk cId="4159195372" sldId="2147468953"/>
            <ac:picMk id="767" creationId="{29D670B7-BDA2-A0FF-14C5-B1BDE284D8EE}"/>
          </ac:picMkLst>
        </pc:picChg>
      </pc:sldChg>
      <pc:sldChg chg="delSp modSp mod">
        <pc:chgData name="Maureen S. Fleming" userId="55564240-5a0e-4b16-8a23-b6077a4b6df8" providerId="ADAL" clId="{A523986C-F6BF-417F-B370-76E7AC853AD0}" dt="2024-02-07T19:43:53.213" v="549" actId="1035"/>
        <pc:sldMkLst>
          <pc:docMk/>
          <pc:sldMk cId="2586348485" sldId="2147468954"/>
        </pc:sldMkLst>
        <pc:spChg chg="mod">
          <ac:chgData name="Maureen S. Fleming" userId="55564240-5a0e-4b16-8a23-b6077a4b6df8" providerId="ADAL" clId="{A523986C-F6BF-417F-B370-76E7AC853AD0}" dt="2024-02-07T19:43:53.213" v="549" actId="1035"/>
          <ac:spMkLst>
            <pc:docMk/>
            <pc:sldMk cId="2586348485" sldId="2147468954"/>
            <ac:spMk id="14" creationId="{2407E26B-1DE3-D044-B7BE-0C11C228D373}"/>
          </ac:spMkLst>
        </pc:spChg>
        <pc:spChg chg="mod">
          <ac:chgData name="Maureen S. Fleming" userId="55564240-5a0e-4b16-8a23-b6077a4b6df8" providerId="ADAL" clId="{A523986C-F6BF-417F-B370-76E7AC853AD0}" dt="2024-02-07T19:43:53.213" v="549" actId="1035"/>
          <ac:spMkLst>
            <pc:docMk/>
            <pc:sldMk cId="2586348485" sldId="2147468954"/>
            <ac:spMk id="759" creationId="{3BADE806-97C4-C52D-6972-2F312E7D9938}"/>
          </ac:spMkLst>
        </pc:spChg>
        <pc:picChg chg="del">
          <ac:chgData name="Maureen S. Fleming" userId="55564240-5a0e-4b16-8a23-b6077a4b6df8" providerId="ADAL" clId="{A523986C-F6BF-417F-B370-76E7AC853AD0}" dt="2024-02-07T19:43:48.661" v="529" actId="478"/>
          <ac:picMkLst>
            <pc:docMk/>
            <pc:sldMk cId="2586348485" sldId="2147468954"/>
            <ac:picMk id="8" creationId="{EF2C18BE-16F7-279F-0A3C-DD474031ED0B}"/>
          </ac:picMkLst>
        </pc:picChg>
        <pc:picChg chg="del">
          <ac:chgData name="Maureen S. Fleming" userId="55564240-5a0e-4b16-8a23-b6077a4b6df8" providerId="ADAL" clId="{A523986C-F6BF-417F-B370-76E7AC853AD0}" dt="2024-02-07T19:43:48.661" v="529" actId="478"/>
          <ac:picMkLst>
            <pc:docMk/>
            <pc:sldMk cId="2586348485" sldId="2147468954"/>
            <ac:picMk id="12" creationId="{37AC7482-8293-0F82-2479-B04175BA1731}"/>
          </ac:picMkLst>
        </pc:picChg>
        <pc:picChg chg="del">
          <ac:chgData name="Maureen S. Fleming" userId="55564240-5a0e-4b16-8a23-b6077a4b6df8" providerId="ADAL" clId="{A523986C-F6BF-417F-B370-76E7AC853AD0}" dt="2024-02-07T19:43:48.661" v="529" actId="478"/>
          <ac:picMkLst>
            <pc:docMk/>
            <pc:sldMk cId="2586348485" sldId="2147468954"/>
            <ac:picMk id="767" creationId="{29D670B7-BDA2-A0FF-14C5-B1BDE284D8EE}"/>
          </ac:picMkLst>
        </pc:picChg>
      </pc:sldChg>
      <pc:sldChg chg="delSp modSp mod">
        <pc:chgData name="Maureen S. Fleming" userId="55564240-5a0e-4b16-8a23-b6077a4b6df8" providerId="ADAL" clId="{A523986C-F6BF-417F-B370-76E7AC853AD0}" dt="2024-02-07T19:46:27.535" v="816" actId="1035"/>
        <pc:sldMkLst>
          <pc:docMk/>
          <pc:sldMk cId="1770436575" sldId="2147468955"/>
        </pc:sldMkLst>
        <pc:spChg chg="mod">
          <ac:chgData name="Maureen S. Fleming" userId="55564240-5a0e-4b16-8a23-b6077a4b6df8" providerId="ADAL" clId="{A523986C-F6BF-417F-B370-76E7AC853AD0}" dt="2024-02-07T19:46:27.535" v="816" actId="1035"/>
          <ac:spMkLst>
            <pc:docMk/>
            <pc:sldMk cId="1770436575" sldId="2147468955"/>
            <ac:spMk id="14" creationId="{B1890A23-E942-C6DC-0113-4FFB04753CD5}"/>
          </ac:spMkLst>
        </pc:spChg>
        <pc:spChg chg="mod">
          <ac:chgData name="Maureen S. Fleming" userId="55564240-5a0e-4b16-8a23-b6077a4b6df8" providerId="ADAL" clId="{A523986C-F6BF-417F-B370-76E7AC853AD0}" dt="2024-02-07T19:46:27.535" v="816" actId="1035"/>
          <ac:spMkLst>
            <pc:docMk/>
            <pc:sldMk cId="1770436575" sldId="2147468955"/>
            <ac:spMk id="759" creationId="{3BADE806-97C4-C52D-6972-2F312E7D9938}"/>
          </ac:spMkLst>
        </pc:spChg>
        <pc:picChg chg="del">
          <ac:chgData name="Maureen S. Fleming" userId="55564240-5a0e-4b16-8a23-b6077a4b6df8" providerId="ADAL" clId="{A523986C-F6BF-417F-B370-76E7AC853AD0}" dt="2024-02-07T19:46:23.578" v="799" actId="478"/>
          <ac:picMkLst>
            <pc:docMk/>
            <pc:sldMk cId="1770436575" sldId="2147468955"/>
            <ac:picMk id="8" creationId="{6F94EBDB-694A-12D9-1F41-F23A9CA88E6F}"/>
          </ac:picMkLst>
        </pc:picChg>
        <pc:picChg chg="del">
          <ac:chgData name="Maureen S. Fleming" userId="55564240-5a0e-4b16-8a23-b6077a4b6df8" providerId="ADAL" clId="{A523986C-F6BF-417F-B370-76E7AC853AD0}" dt="2024-02-07T19:46:23.578" v="799" actId="478"/>
          <ac:picMkLst>
            <pc:docMk/>
            <pc:sldMk cId="1770436575" sldId="2147468955"/>
            <ac:picMk id="12" creationId="{6E08E417-CE1D-6BCE-2B37-F1D7C4D83B9D}"/>
          </ac:picMkLst>
        </pc:picChg>
        <pc:picChg chg="del">
          <ac:chgData name="Maureen S. Fleming" userId="55564240-5a0e-4b16-8a23-b6077a4b6df8" providerId="ADAL" clId="{A523986C-F6BF-417F-B370-76E7AC853AD0}" dt="2024-02-07T19:46:23.578" v="799" actId="478"/>
          <ac:picMkLst>
            <pc:docMk/>
            <pc:sldMk cId="1770436575" sldId="2147468955"/>
            <ac:picMk id="767" creationId="{29D670B7-BDA2-A0FF-14C5-B1BDE284D8EE}"/>
          </ac:picMkLst>
        </pc:picChg>
      </pc:sldChg>
      <pc:sldChg chg="delSp modSp mod">
        <pc:chgData name="Maureen S. Fleming" userId="55564240-5a0e-4b16-8a23-b6077a4b6df8" providerId="ADAL" clId="{A523986C-F6BF-417F-B370-76E7AC853AD0}" dt="2024-02-07T19:51:03.846" v="1348" actId="1035"/>
        <pc:sldMkLst>
          <pc:docMk/>
          <pc:sldMk cId="3736116159" sldId="2147468956"/>
        </pc:sldMkLst>
        <pc:spChg chg="mod">
          <ac:chgData name="Maureen S. Fleming" userId="55564240-5a0e-4b16-8a23-b6077a4b6df8" providerId="ADAL" clId="{A523986C-F6BF-417F-B370-76E7AC853AD0}" dt="2024-02-07T19:51:03.846" v="1348" actId="1035"/>
          <ac:spMkLst>
            <pc:docMk/>
            <pc:sldMk cId="3736116159" sldId="2147468956"/>
            <ac:spMk id="12" creationId="{96EEA579-B9A1-F100-A793-1F6BEE8904BA}"/>
          </ac:spMkLst>
        </pc:spChg>
        <pc:spChg chg="mod">
          <ac:chgData name="Maureen S. Fleming" userId="55564240-5a0e-4b16-8a23-b6077a4b6df8" providerId="ADAL" clId="{A523986C-F6BF-417F-B370-76E7AC853AD0}" dt="2024-02-07T19:51:03.846" v="1348" actId="1035"/>
          <ac:spMkLst>
            <pc:docMk/>
            <pc:sldMk cId="3736116159" sldId="2147468956"/>
            <ac:spMk id="759" creationId="{3BADE806-97C4-C52D-6972-2F312E7D9938}"/>
          </ac:spMkLst>
        </pc:spChg>
        <pc:picChg chg="del">
          <ac:chgData name="Maureen S. Fleming" userId="55564240-5a0e-4b16-8a23-b6077a4b6df8" providerId="ADAL" clId="{A523986C-F6BF-417F-B370-76E7AC853AD0}" dt="2024-02-07T19:50:59.762" v="1332" actId="478"/>
          <ac:picMkLst>
            <pc:docMk/>
            <pc:sldMk cId="3736116159" sldId="2147468956"/>
            <ac:picMk id="8" creationId="{D7E6B216-8118-823D-804B-48AB512BA8F7}"/>
          </ac:picMkLst>
        </pc:picChg>
        <pc:picChg chg="del">
          <ac:chgData name="Maureen S. Fleming" userId="55564240-5a0e-4b16-8a23-b6077a4b6df8" providerId="ADAL" clId="{A523986C-F6BF-417F-B370-76E7AC853AD0}" dt="2024-02-07T19:50:59.762" v="1332" actId="478"/>
          <ac:picMkLst>
            <pc:docMk/>
            <pc:sldMk cId="3736116159" sldId="2147468956"/>
            <ac:picMk id="767" creationId="{29D670B7-BDA2-A0FF-14C5-B1BDE284D8EE}"/>
          </ac:picMkLst>
        </pc:picChg>
        <pc:picChg chg="del">
          <ac:chgData name="Maureen S. Fleming" userId="55564240-5a0e-4b16-8a23-b6077a4b6df8" providerId="ADAL" clId="{A523986C-F6BF-417F-B370-76E7AC853AD0}" dt="2024-02-07T19:50:59.762" v="1332" actId="478"/>
          <ac:picMkLst>
            <pc:docMk/>
            <pc:sldMk cId="3736116159" sldId="2147468956"/>
            <ac:picMk id="1026" creationId="{91BADC15-A1EF-DC06-C5EF-D39F1A22052A}"/>
          </ac:picMkLst>
        </pc:picChg>
      </pc:sldChg>
      <pc:sldChg chg="delSp modSp mod">
        <pc:chgData name="Maureen S. Fleming" userId="55564240-5a0e-4b16-8a23-b6077a4b6df8" providerId="ADAL" clId="{A523986C-F6BF-417F-B370-76E7AC853AD0}" dt="2024-02-07T19:40:24.013" v="368" actId="1076"/>
        <pc:sldMkLst>
          <pc:docMk/>
          <pc:sldMk cId="3942209787" sldId="2147468957"/>
        </pc:sldMkLst>
        <pc:spChg chg="mod">
          <ac:chgData name="Maureen S. Fleming" userId="55564240-5a0e-4b16-8a23-b6077a4b6df8" providerId="ADAL" clId="{A523986C-F6BF-417F-B370-76E7AC853AD0}" dt="2024-02-07T19:40:24.013" v="368" actId="1076"/>
          <ac:spMkLst>
            <pc:docMk/>
            <pc:sldMk cId="3942209787" sldId="2147468957"/>
            <ac:spMk id="14" creationId="{6B0084FB-1DC1-C68A-E11F-5B9B4D5105CB}"/>
          </ac:spMkLst>
        </pc:spChg>
        <pc:spChg chg="mod">
          <ac:chgData name="Maureen S. Fleming" userId="55564240-5a0e-4b16-8a23-b6077a4b6df8" providerId="ADAL" clId="{A523986C-F6BF-417F-B370-76E7AC853AD0}" dt="2024-02-07T19:40:24.013" v="368" actId="1076"/>
          <ac:spMkLst>
            <pc:docMk/>
            <pc:sldMk cId="3942209787" sldId="2147468957"/>
            <ac:spMk id="759" creationId="{3BADE806-97C4-C52D-6972-2F312E7D9938}"/>
          </ac:spMkLst>
        </pc:spChg>
        <pc:picChg chg="del">
          <ac:chgData name="Maureen S. Fleming" userId="55564240-5a0e-4b16-8a23-b6077a4b6df8" providerId="ADAL" clId="{A523986C-F6BF-417F-B370-76E7AC853AD0}" dt="2024-02-07T19:40:17.262" v="365" actId="478"/>
          <ac:picMkLst>
            <pc:docMk/>
            <pc:sldMk cId="3942209787" sldId="2147468957"/>
            <ac:picMk id="8" creationId="{C7B6B46D-3E61-5F4F-3D33-3E0E89185502}"/>
          </ac:picMkLst>
        </pc:picChg>
        <pc:picChg chg="del">
          <ac:chgData name="Maureen S. Fleming" userId="55564240-5a0e-4b16-8a23-b6077a4b6df8" providerId="ADAL" clId="{A523986C-F6BF-417F-B370-76E7AC853AD0}" dt="2024-02-07T19:40:17.262" v="365" actId="478"/>
          <ac:picMkLst>
            <pc:docMk/>
            <pc:sldMk cId="3942209787" sldId="2147468957"/>
            <ac:picMk id="12" creationId="{72D19151-96C9-03D1-BB46-9B11A6B2D294}"/>
          </ac:picMkLst>
        </pc:picChg>
        <pc:picChg chg="del">
          <ac:chgData name="Maureen S. Fleming" userId="55564240-5a0e-4b16-8a23-b6077a4b6df8" providerId="ADAL" clId="{A523986C-F6BF-417F-B370-76E7AC853AD0}" dt="2024-02-07T19:40:17.262" v="365" actId="478"/>
          <ac:picMkLst>
            <pc:docMk/>
            <pc:sldMk cId="3942209787" sldId="2147468957"/>
            <ac:picMk id="767" creationId="{29D670B7-BDA2-A0FF-14C5-B1BDE284D8EE}"/>
          </ac:picMkLst>
        </pc:picChg>
      </pc:sldChg>
      <pc:sldChg chg="delSp modSp mod">
        <pc:chgData name="Maureen S. Fleming" userId="55564240-5a0e-4b16-8a23-b6077a4b6df8" providerId="ADAL" clId="{A523986C-F6BF-417F-B370-76E7AC853AD0}" dt="2024-02-07T19:44:02.902" v="572" actId="1036"/>
        <pc:sldMkLst>
          <pc:docMk/>
          <pc:sldMk cId="674218563" sldId="2147468958"/>
        </pc:sldMkLst>
        <pc:spChg chg="mod">
          <ac:chgData name="Maureen S. Fleming" userId="55564240-5a0e-4b16-8a23-b6077a4b6df8" providerId="ADAL" clId="{A523986C-F6BF-417F-B370-76E7AC853AD0}" dt="2024-02-07T19:44:02.902" v="572" actId="1036"/>
          <ac:spMkLst>
            <pc:docMk/>
            <pc:sldMk cId="674218563" sldId="2147468958"/>
            <ac:spMk id="14" creationId="{98A4D135-E485-461E-1AB4-0CFD455618DA}"/>
          </ac:spMkLst>
        </pc:spChg>
        <pc:spChg chg="mod">
          <ac:chgData name="Maureen S. Fleming" userId="55564240-5a0e-4b16-8a23-b6077a4b6df8" providerId="ADAL" clId="{A523986C-F6BF-417F-B370-76E7AC853AD0}" dt="2024-02-07T19:44:02.902" v="572" actId="1036"/>
          <ac:spMkLst>
            <pc:docMk/>
            <pc:sldMk cId="674218563" sldId="2147468958"/>
            <ac:spMk id="759" creationId="{3BADE806-97C4-C52D-6972-2F312E7D9938}"/>
          </ac:spMkLst>
        </pc:spChg>
        <pc:picChg chg="del">
          <ac:chgData name="Maureen S. Fleming" userId="55564240-5a0e-4b16-8a23-b6077a4b6df8" providerId="ADAL" clId="{A523986C-F6BF-417F-B370-76E7AC853AD0}" dt="2024-02-07T19:43:58.228" v="550" actId="478"/>
          <ac:picMkLst>
            <pc:docMk/>
            <pc:sldMk cId="674218563" sldId="2147468958"/>
            <ac:picMk id="8" creationId="{48C8EBDB-34B0-A3B3-0024-61C89E961A92}"/>
          </ac:picMkLst>
        </pc:picChg>
        <pc:picChg chg="del">
          <ac:chgData name="Maureen S. Fleming" userId="55564240-5a0e-4b16-8a23-b6077a4b6df8" providerId="ADAL" clId="{A523986C-F6BF-417F-B370-76E7AC853AD0}" dt="2024-02-07T19:43:58.228" v="550" actId="478"/>
          <ac:picMkLst>
            <pc:docMk/>
            <pc:sldMk cId="674218563" sldId="2147468958"/>
            <ac:picMk id="12" creationId="{2A2D0463-C193-7DBD-A56B-B212CB93E3E3}"/>
          </ac:picMkLst>
        </pc:picChg>
        <pc:picChg chg="del">
          <ac:chgData name="Maureen S. Fleming" userId="55564240-5a0e-4b16-8a23-b6077a4b6df8" providerId="ADAL" clId="{A523986C-F6BF-417F-B370-76E7AC853AD0}" dt="2024-02-07T19:43:58.228" v="550" actId="478"/>
          <ac:picMkLst>
            <pc:docMk/>
            <pc:sldMk cId="674218563" sldId="2147468958"/>
            <ac:picMk id="767" creationId="{29D670B7-BDA2-A0FF-14C5-B1BDE284D8EE}"/>
          </ac:picMkLst>
        </pc:picChg>
      </pc:sldChg>
      <pc:sldChg chg="delSp modSp mod">
        <pc:chgData name="Maureen S. Fleming" userId="55564240-5a0e-4b16-8a23-b6077a4b6df8" providerId="ADAL" clId="{A523986C-F6BF-417F-B370-76E7AC853AD0}" dt="2024-02-07T19:44:15.761" v="594" actId="1035"/>
        <pc:sldMkLst>
          <pc:docMk/>
          <pc:sldMk cId="4180914857" sldId="2147468959"/>
        </pc:sldMkLst>
        <pc:spChg chg="mod">
          <ac:chgData name="Maureen S. Fleming" userId="55564240-5a0e-4b16-8a23-b6077a4b6df8" providerId="ADAL" clId="{A523986C-F6BF-417F-B370-76E7AC853AD0}" dt="2024-02-07T19:44:15.761" v="594" actId="1035"/>
          <ac:spMkLst>
            <pc:docMk/>
            <pc:sldMk cId="4180914857" sldId="2147468959"/>
            <ac:spMk id="14" creationId="{298E0B2D-0E89-B531-78EE-DE0AD5663A51}"/>
          </ac:spMkLst>
        </pc:spChg>
        <pc:spChg chg="mod">
          <ac:chgData name="Maureen S. Fleming" userId="55564240-5a0e-4b16-8a23-b6077a4b6df8" providerId="ADAL" clId="{A523986C-F6BF-417F-B370-76E7AC853AD0}" dt="2024-02-07T19:44:15.761" v="594" actId="1035"/>
          <ac:spMkLst>
            <pc:docMk/>
            <pc:sldMk cId="4180914857" sldId="2147468959"/>
            <ac:spMk id="759" creationId="{3BADE806-97C4-C52D-6972-2F312E7D9938}"/>
          </ac:spMkLst>
        </pc:spChg>
        <pc:picChg chg="del">
          <ac:chgData name="Maureen S. Fleming" userId="55564240-5a0e-4b16-8a23-b6077a4b6df8" providerId="ADAL" clId="{A523986C-F6BF-417F-B370-76E7AC853AD0}" dt="2024-02-07T19:44:11.095" v="573" actId="478"/>
          <ac:picMkLst>
            <pc:docMk/>
            <pc:sldMk cId="4180914857" sldId="2147468959"/>
            <ac:picMk id="8" creationId="{7C481C79-5D36-DD6E-D714-F4EA1E7C668A}"/>
          </ac:picMkLst>
        </pc:picChg>
        <pc:picChg chg="del">
          <ac:chgData name="Maureen S. Fleming" userId="55564240-5a0e-4b16-8a23-b6077a4b6df8" providerId="ADAL" clId="{A523986C-F6BF-417F-B370-76E7AC853AD0}" dt="2024-02-07T19:44:11.095" v="573" actId="478"/>
          <ac:picMkLst>
            <pc:docMk/>
            <pc:sldMk cId="4180914857" sldId="2147468959"/>
            <ac:picMk id="12" creationId="{6100A494-50B3-6B7C-AED8-118DAFDF75B3}"/>
          </ac:picMkLst>
        </pc:picChg>
        <pc:picChg chg="del">
          <ac:chgData name="Maureen S. Fleming" userId="55564240-5a0e-4b16-8a23-b6077a4b6df8" providerId="ADAL" clId="{A523986C-F6BF-417F-B370-76E7AC853AD0}" dt="2024-02-07T19:44:11.095" v="573" actId="478"/>
          <ac:picMkLst>
            <pc:docMk/>
            <pc:sldMk cId="4180914857" sldId="2147468959"/>
            <ac:picMk id="767" creationId="{29D670B7-BDA2-A0FF-14C5-B1BDE284D8EE}"/>
          </ac:picMkLst>
        </pc:picChg>
      </pc:sldChg>
      <pc:sldChg chg="delSp modSp mod">
        <pc:chgData name="Maureen S. Fleming" userId="55564240-5a0e-4b16-8a23-b6077a4b6df8" providerId="ADAL" clId="{A523986C-F6BF-417F-B370-76E7AC853AD0}" dt="2024-02-07T19:40:44.666" v="396" actId="1036"/>
        <pc:sldMkLst>
          <pc:docMk/>
          <pc:sldMk cId="3889839420" sldId="2147468960"/>
        </pc:sldMkLst>
        <pc:spChg chg="mod">
          <ac:chgData name="Maureen S. Fleming" userId="55564240-5a0e-4b16-8a23-b6077a4b6df8" providerId="ADAL" clId="{A523986C-F6BF-417F-B370-76E7AC853AD0}" dt="2024-02-07T19:40:44.666" v="396" actId="1036"/>
          <ac:spMkLst>
            <pc:docMk/>
            <pc:sldMk cId="3889839420" sldId="2147468960"/>
            <ac:spMk id="12" creationId="{24DCE1DE-6A54-2044-5C2B-53C05A73EF71}"/>
          </ac:spMkLst>
        </pc:spChg>
        <pc:spChg chg="mod">
          <ac:chgData name="Maureen S. Fleming" userId="55564240-5a0e-4b16-8a23-b6077a4b6df8" providerId="ADAL" clId="{A523986C-F6BF-417F-B370-76E7AC853AD0}" dt="2024-02-07T19:40:44.666" v="396" actId="1036"/>
          <ac:spMkLst>
            <pc:docMk/>
            <pc:sldMk cId="3889839420" sldId="2147468960"/>
            <ac:spMk id="759" creationId="{3BADE806-97C4-C52D-6972-2F312E7D9938}"/>
          </ac:spMkLst>
        </pc:spChg>
        <pc:picChg chg="del">
          <ac:chgData name="Maureen S. Fleming" userId="55564240-5a0e-4b16-8a23-b6077a4b6df8" providerId="ADAL" clId="{A523986C-F6BF-417F-B370-76E7AC853AD0}" dt="2024-02-07T19:40:40.378" v="371" actId="478"/>
          <ac:picMkLst>
            <pc:docMk/>
            <pc:sldMk cId="3889839420" sldId="2147468960"/>
            <ac:picMk id="8" creationId="{4EFF9B55-41C6-2D6C-15F4-890F005A1C05}"/>
          </ac:picMkLst>
        </pc:picChg>
        <pc:picChg chg="del">
          <ac:chgData name="Maureen S. Fleming" userId="55564240-5a0e-4b16-8a23-b6077a4b6df8" providerId="ADAL" clId="{A523986C-F6BF-417F-B370-76E7AC853AD0}" dt="2024-02-07T19:40:40.378" v="371" actId="478"/>
          <ac:picMkLst>
            <pc:docMk/>
            <pc:sldMk cId="3889839420" sldId="2147468960"/>
            <ac:picMk id="767" creationId="{29D670B7-BDA2-A0FF-14C5-B1BDE284D8EE}"/>
          </ac:picMkLst>
        </pc:picChg>
        <pc:picChg chg="del">
          <ac:chgData name="Maureen S. Fleming" userId="55564240-5a0e-4b16-8a23-b6077a4b6df8" providerId="ADAL" clId="{A523986C-F6BF-417F-B370-76E7AC853AD0}" dt="2024-02-07T19:40:40.378" v="371" actId="478"/>
          <ac:picMkLst>
            <pc:docMk/>
            <pc:sldMk cId="3889839420" sldId="2147468960"/>
            <ac:picMk id="1026" creationId="{91BADC15-A1EF-DC06-C5EF-D39F1A22052A}"/>
          </ac:picMkLst>
        </pc:picChg>
      </pc:sldChg>
      <pc:sldChg chg="delSp modSp mod">
        <pc:chgData name="Maureen S. Fleming" userId="55564240-5a0e-4b16-8a23-b6077a4b6df8" providerId="ADAL" clId="{A523986C-F6BF-417F-B370-76E7AC853AD0}" dt="2024-02-07T19:49:14.448" v="1151" actId="1035"/>
        <pc:sldMkLst>
          <pc:docMk/>
          <pc:sldMk cId="863225718" sldId="2147468961"/>
        </pc:sldMkLst>
        <pc:spChg chg="mod">
          <ac:chgData name="Maureen S. Fleming" userId="55564240-5a0e-4b16-8a23-b6077a4b6df8" providerId="ADAL" clId="{A523986C-F6BF-417F-B370-76E7AC853AD0}" dt="2024-02-07T19:49:14.448" v="1151" actId="1035"/>
          <ac:spMkLst>
            <pc:docMk/>
            <pc:sldMk cId="863225718" sldId="2147468961"/>
            <ac:spMk id="14" creationId="{DF61689F-AE26-FE40-28C3-67ABACDC23A9}"/>
          </ac:spMkLst>
        </pc:spChg>
        <pc:spChg chg="mod">
          <ac:chgData name="Maureen S. Fleming" userId="55564240-5a0e-4b16-8a23-b6077a4b6df8" providerId="ADAL" clId="{A523986C-F6BF-417F-B370-76E7AC853AD0}" dt="2024-02-07T19:49:14.448" v="1151" actId="1035"/>
          <ac:spMkLst>
            <pc:docMk/>
            <pc:sldMk cId="863225718" sldId="2147468961"/>
            <ac:spMk id="759" creationId="{3BADE806-97C4-C52D-6972-2F312E7D9938}"/>
          </ac:spMkLst>
        </pc:spChg>
        <pc:picChg chg="del">
          <ac:chgData name="Maureen S. Fleming" userId="55564240-5a0e-4b16-8a23-b6077a4b6df8" providerId="ADAL" clId="{A523986C-F6BF-417F-B370-76E7AC853AD0}" dt="2024-02-07T19:49:11.143" v="1135" actId="478"/>
          <ac:picMkLst>
            <pc:docMk/>
            <pc:sldMk cId="863225718" sldId="2147468961"/>
            <ac:picMk id="8" creationId="{D45F3C2F-27CC-0E05-08E9-A9711357AA74}"/>
          </ac:picMkLst>
        </pc:picChg>
        <pc:picChg chg="del">
          <ac:chgData name="Maureen S. Fleming" userId="55564240-5a0e-4b16-8a23-b6077a4b6df8" providerId="ADAL" clId="{A523986C-F6BF-417F-B370-76E7AC853AD0}" dt="2024-02-07T19:49:11.143" v="1135" actId="478"/>
          <ac:picMkLst>
            <pc:docMk/>
            <pc:sldMk cId="863225718" sldId="2147468961"/>
            <ac:picMk id="12" creationId="{47E694C5-65AC-D044-888A-53CCC71B9BE8}"/>
          </ac:picMkLst>
        </pc:picChg>
        <pc:picChg chg="del">
          <ac:chgData name="Maureen S. Fleming" userId="55564240-5a0e-4b16-8a23-b6077a4b6df8" providerId="ADAL" clId="{A523986C-F6BF-417F-B370-76E7AC853AD0}" dt="2024-02-07T19:49:11.143" v="1135" actId="478"/>
          <ac:picMkLst>
            <pc:docMk/>
            <pc:sldMk cId="863225718" sldId="2147468961"/>
            <ac:picMk id="767" creationId="{29D670B7-BDA2-A0FF-14C5-B1BDE284D8EE}"/>
          </ac:picMkLst>
        </pc:picChg>
      </pc:sldChg>
      <pc:sldChg chg="delSp modSp mod">
        <pc:chgData name="Maureen S. Fleming" userId="55564240-5a0e-4b16-8a23-b6077a4b6df8" providerId="ADAL" clId="{A523986C-F6BF-417F-B370-76E7AC853AD0}" dt="2024-02-07T19:44:24.422" v="608" actId="1035"/>
        <pc:sldMkLst>
          <pc:docMk/>
          <pc:sldMk cId="1814168869" sldId="2147468962"/>
        </pc:sldMkLst>
        <pc:spChg chg="mod">
          <ac:chgData name="Maureen S. Fleming" userId="55564240-5a0e-4b16-8a23-b6077a4b6df8" providerId="ADAL" clId="{A523986C-F6BF-417F-B370-76E7AC853AD0}" dt="2024-02-07T19:44:24.422" v="608" actId="1035"/>
          <ac:spMkLst>
            <pc:docMk/>
            <pc:sldMk cId="1814168869" sldId="2147468962"/>
            <ac:spMk id="14" creationId="{69FEDB53-9DD4-106B-D9D5-1093D33E11BC}"/>
          </ac:spMkLst>
        </pc:spChg>
        <pc:spChg chg="mod">
          <ac:chgData name="Maureen S. Fleming" userId="55564240-5a0e-4b16-8a23-b6077a4b6df8" providerId="ADAL" clId="{A523986C-F6BF-417F-B370-76E7AC853AD0}" dt="2024-02-07T19:44:24.422" v="608" actId="1035"/>
          <ac:spMkLst>
            <pc:docMk/>
            <pc:sldMk cId="1814168869" sldId="2147468962"/>
            <ac:spMk id="759" creationId="{3BADE806-97C4-C52D-6972-2F312E7D9938}"/>
          </ac:spMkLst>
        </pc:spChg>
        <pc:picChg chg="del">
          <ac:chgData name="Maureen S. Fleming" userId="55564240-5a0e-4b16-8a23-b6077a4b6df8" providerId="ADAL" clId="{A523986C-F6BF-417F-B370-76E7AC853AD0}" dt="2024-02-07T19:44:20.997" v="595" actId="478"/>
          <ac:picMkLst>
            <pc:docMk/>
            <pc:sldMk cId="1814168869" sldId="2147468962"/>
            <ac:picMk id="8" creationId="{51A330C5-8E12-E736-9EB8-FA2E12077377}"/>
          </ac:picMkLst>
        </pc:picChg>
        <pc:picChg chg="del">
          <ac:chgData name="Maureen S. Fleming" userId="55564240-5a0e-4b16-8a23-b6077a4b6df8" providerId="ADAL" clId="{A523986C-F6BF-417F-B370-76E7AC853AD0}" dt="2024-02-07T19:44:20.997" v="595" actId="478"/>
          <ac:picMkLst>
            <pc:docMk/>
            <pc:sldMk cId="1814168869" sldId="2147468962"/>
            <ac:picMk id="12" creationId="{50D83A6C-9FA5-1DBA-EDC2-E68FB69AB47B}"/>
          </ac:picMkLst>
        </pc:picChg>
        <pc:picChg chg="del">
          <ac:chgData name="Maureen S. Fleming" userId="55564240-5a0e-4b16-8a23-b6077a4b6df8" providerId="ADAL" clId="{A523986C-F6BF-417F-B370-76E7AC853AD0}" dt="2024-02-07T19:44:20.997" v="595" actId="478"/>
          <ac:picMkLst>
            <pc:docMk/>
            <pc:sldMk cId="1814168869" sldId="2147468962"/>
            <ac:picMk id="767" creationId="{29D670B7-BDA2-A0FF-14C5-B1BDE284D8EE}"/>
          </ac:picMkLst>
        </pc:picChg>
      </pc:sldChg>
      <pc:sldChg chg="delSp modSp mod">
        <pc:chgData name="Maureen S. Fleming" userId="55564240-5a0e-4b16-8a23-b6077a4b6df8" providerId="ADAL" clId="{A523986C-F6BF-417F-B370-76E7AC853AD0}" dt="2024-02-07T19:53:04.701" v="1510" actId="1076"/>
        <pc:sldMkLst>
          <pc:docMk/>
          <pc:sldMk cId="2889306989" sldId="2147468963"/>
        </pc:sldMkLst>
        <pc:spChg chg="mod">
          <ac:chgData name="Maureen S. Fleming" userId="55564240-5a0e-4b16-8a23-b6077a4b6df8" providerId="ADAL" clId="{A523986C-F6BF-417F-B370-76E7AC853AD0}" dt="2024-02-07T19:53:04.701" v="1510" actId="1076"/>
          <ac:spMkLst>
            <pc:docMk/>
            <pc:sldMk cId="2889306989" sldId="2147468963"/>
            <ac:spMk id="14" creationId="{1FCDE450-3465-DDED-7ADA-114B0056A4F5}"/>
          </ac:spMkLst>
        </pc:spChg>
        <pc:spChg chg="mod">
          <ac:chgData name="Maureen S. Fleming" userId="55564240-5a0e-4b16-8a23-b6077a4b6df8" providerId="ADAL" clId="{A523986C-F6BF-417F-B370-76E7AC853AD0}" dt="2024-02-07T19:53:04.701" v="1510" actId="1076"/>
          <ac:spMkLst>
            <pc:docMk/>
            <pc:sldMk cId="2889306989" sldId="2147468963"/>
            <ac:spMk id="759" creationId="{3BADE806-97C4-C52D-6972-2F312E7D9938}"/>
          </ac:spMkLst>
        </pc:spChg>
        <pc:picChg chg="del">
          <ac:chgData name="Maureen S. Fleming" userId="55564240-5a0e-4b16-8a23-b6077a4b6df8" providerId="ADAL" clId="{A523986C-F6BF-417F-B370-76E7AC853AD0}" dt="2024-02-07T19:53:00.460" v="1509" actId="478"/>
          <ac:picMkLst>
            <pc:docMk/>
            <pc:sldMk cId="2889306989" sldId="2147468963"/>
            <ac:picMk id="8" creationId="{16B40B74-DDF9-F250-89C6-BD2A92D94BAC}"/>
          </ac:picMkLst>
        </pc:picChg>
        <pc:picChg chg="del">
          <ac:chgData name="Maureen S. Fleming" userId="55564240-5a0e-4b16-8a23-b6077a4b6df8" providerId="ADAL" clId="{A523986C-F6BF-417F-B370-76E7AC853AD0}" dt="2024-02-07T19:53:00.460" v="1509" actId="478"/>
          <ac:picMkLst>
            <pc:docMk/>
            <pc:sldMk cId="2889306989" sldId="2147468963"/>
            <ac:picMk id="12" creationId="{33B5D5C4-E6D0-037A-A696-F08D455F910F}"/>
          </ac:picMkLst>
        </pc:picChg>
        <pc:picChg chg="del">
          <ac:chgData name="Maureen S. Fleming" userId="55564240-5a0e-4b16-8a23-b6077a4b6df8" providerId="ADAL" clId="{A523986C-F6BF-417F-B370-76E7AC853AD0}" dt="2024-02-07T19:53:00.460" v="1509" actId="478"/>
          <ac:picMkLst>
            <pc:docMk/>
            <pc:sldMk cId="2889306989" sldId="2147468963"/>
            <ac:picMk id="767" creationId="{29D670B7-BDA2-A0FF-14C5-B1BDE284D8EE}"/>
          </ac:picMkLst>
        </pc:picChg>
      </pc:sldChg>
      <pc:sldChg chg="delSp modSp mod">
        <pc:chgData name="Maureen S. Fleming" userId="55564240-5a0e-4b16-8a23-b6077a4b6df8" providerId="ADAL" clId="{A523986C-F6BF-417F-B370-76E7AC853AD0}" dt="2024-02-07T19:49:34.478" v="1197" actId="1035"/>
        <pc:sldMkLst>
          <pc:docMk/>
          <pc:sldMk cId="4180073948" sldId="2147468964"/>
        </pc:sldMkLst>
        <pc:spChg chg="mod">
          <ac:chgData name="Maureen S. Fleming" userId="55564240-5a0e-4b16-8a23-b6077a4b6df8" providerId="ADAL" clId="{A523986C-F6BF-417F-B370-76E7AC853AD0}" dt="2024-02-07T19:49:34.478" v="1197" actId="1035"/>
          <ac:spMkLst>
            <pc:docMk/>
            <pc:sldMk cId="4180073948" sldId="2147468964"/>
            <ac:spMk id="14" creationId="{30E296D6-18D8-0580-BDA3-5754251CDDB3}"/>
          </ac:spMkLst>
        </pc:spChg>
        <pc:spChg chg="mod">
          <ac:chgData name="Maureen S. Fleming" userId="55564240-5a0e-4b16-8a23-b6077a4b6df8" providerId="ADAL" clId="{A523986C-F6BF-417F-B370-76E7AC853AD0}" dt="2024-02-07T19:49:34.478" v="1197" actId="1035"/>
          <ac:spMkLst>
            <pc:docMk/>
            <pc:sldMk cId="4180073948" sldId="2147468964"/>
            <ac:spMk id="759" creationId="{3BADE806-97C4-C52D-6972-2F312E7D9938}"/>
          </ac:spMkLst>
        </pc:spChg>
        <pc:picChg chg="del">
          <ac:chgData name="Maureen S. Fleming" userId="55564240-5a0e-4b16-8a23-b6077a4b6df8" providerId="ADAL" clId="{A523986C-F6BF-417F-B370-76E7AC853AD0}" dt="2024-02-07T19:49:28.964" v="1171" actId="478"/>
          <ac:picMkLst>
            <pc:docMk/>
            <pc:sldMk cId="4180073948" sldId="2147468964"/>
            <ac:picMk id="8" creationId="{4C33AC98-2F24-90D4-A400-C0EA221D6864}"/>
          </ac:picMkLst>
        </pc:picChg>
        <pc:picChg chg="del">
          <ac:chgData name="Maureen S. Fleming" userId="55564240-5a0e-4b16-8a23-b6077a4b6df8" providerId="ADAL" clId="{A523986C-F6BF-417F-B370-76E7AC853AD0}" dt="2024-02-07T19:49:28.964" v="1171" actId="478"/>
          <ac:picMkLst>
            <pc:docMk/>
            <pc:sldMk cId="4180073948" sldId="2147468964"/>
            <ac:picMk id="12" creationId="{A2663E9E-F91F-7FEE-21CA-8B2D62BFD56B}"/>
          </ac:picMkLst>
        </pc:picChg>
        <pc:picChg chg="del">
          <ac:chgData name="Maureen S. Fleming" userId="55564240-5a0e-4b16-8a23-b6077a4b6df8" providerId="ADAL" clId="{A523986C-F6BF-417F-B370-76E7AC853AD0}" dt="2024-02-07T19:49:28.964" v="1171" actId="478"/>
          <ac:picMkLst>
            <pc:docMk/>
            <pc:sldMk cId="4180073948" sldId="2147468964"/>
            <ac:picMk id="767" creationId="{29D670B7-BDA2-A0FF-14C5-B1BDE284D8EE}"/>
          </ac:picMkLst>
        </pc:picChg>
      </pc:sldChg>
      <pc:sldChg chg="delSp modSp mod">
        <pc:chgData name="Maureen S. Fleming" userId="55564240-5a0e-4b16-8a23-b6077a4b6df8" providerId="ADAL" clId="{A523986C-F6BF-417F-B370-76E7AC853AD0}" dt="2024-02-07T19:49:23.446" v="1170" actId="1036"/>
        <pc:sldMkLst>
          <pc:docMk/>
          <pc:sldMk cId="641738997" sldId="2147468965"/>
        </pc:sldMkLst>
        <pc:spChg chg="mod">
          <ac:chgData name="Maureen S. Fleming" userId="55564240-5a0e-4b16-8a23-b6077a4b6df8" providerId="ADAL" clId="{A523986C-F6BF-417F-B370-76E7AC853AD0}" dt="2024-02-07T19:49:23.446" v="1170" actId="1036"/>
          <ac:spMkLst>
            <pc:docMk/>
            <pc:sldMk cId="641738997" sldId="2147468965"/>
            <ac:spMk id="14" creationId="{085AAEAD-B171-97C1-E5A2-E094BB1D9F30}"/>
          </ac:spMkLst>
        </pc:spChg>
        <pc:spChg chg="mod">
          <ac:chgData name="Maureen S. Fleming" userId="55564240-5a0e-4b16-8a23-b6077a4b6df8" providerId="ADAL" clId="{A523986C-F6BF-417F-B370-76E7AC853AD0}" dt="2024-02-07T19:49:23.446" v="1170" actId="1036"/>
          <ac:spMkLst>
            <pc:docMk/>
            <pc:sldMk cId="641738997" sldId="2147468965"/>
            <ac:spMk id="759" creationId="{3BADE806-97C4-C52D-6972-2F312E7D9938}"/>
          </ac:spMkLst>
        </pc:spChg>
        <pc:picChg chg="del">
          <ac:chgData name="Maureen S. Fleming" userId="55564240-5a0e-4b16-8a23-b6077a4b6df8" providerId="ADAL" clId="{A523986C-F6BF-417F-B370-76E7AC853AD0}" dt="2024-02-07T19:49:19.578" v="1152" actId="478"/>
          <ac:picMkLst>
            <pc:docMk/>
            <pc:sldMk cId="641738997" sldId="2147468965"/>
            <ac:picMk id="8" creationId="{318B74B8-4DD6-56FB-4DDF-FFC66308DDC1}"/>
          </ac:picMkLst>
        </pc:picChg>
        <pc:picChg chg="del">
          <ac:chgData name="Maureen S. Fleming" userId="55564240-5a0e-4b16-8a23-b6077a4b6df8" providerId="ADAL" clId="{A523986C-F6BF-417F-B370-76E7AC853AD0}" dt="2024-02-07T19:49:19.578" v="1152" actId="478"/>
          <ac:picMkLst>
            <pc:docMk/>
            <pc:sldMk cId="641738997" sldId="2147468965"/>
            <ac:picMk id="12" creationId="{06F23E7A-D6B0-BDA2-15CA-E3EDD08082E9}"/>
          </ac:picMkLst>
        </pc:picChg>
        <pc:picChg chg="del">
          <ac:chgData name="Maureen S. Fleming" userId="55564240-5a0e-4b16-8a23-b6077a4b6df8" providerId="ADAL" clId="{A523986C-F6BF-417F-B370-76E7AC853AD0}" dt="2024-02-07T19:49:19.578" v="1152" actId="478"/>
          <ac:picMkLst>
            <pc:docMk/>
            <pc:sldMk cId="641738997" sldId="2147468965"/>
            <ac:picMk id="767" creationId="{29D670B7-BDA2-A0FF-14C5-B1BDE284D8EE}"/>
          </ac:picMkLst>
        </pc:picChg>
      </pc:sldChg>
      <pc:sldChg chg="delSp modSp mod">
        <pc:chgData name="Maureen S. Fleming" userId="55564240-5a0e-4b16-8a23-b6077a4b6df8" providerId="ADAL" clId="{A523986C-F6BF-417F-B370-76E7AC853AD0}" dt="2024-02-07T19:41:35.897" v="459" actId="1035"/>
        <pc:sldMkLst>
          <pc:docMk/>
          <pc:sldMk cId="1585400437" sldId="2147468966"/>
        </pc:sldMkLst>
        <pc:spChg chg="mod">
          <ac:chgData name="Maureen S. Fleming" userId="55564240-5a0e-4b16-8a23-b6077a4b6df8" providerId="ADAL" clId="{A523986C-F6BF-417F-B370-76E7AC853AD0}" dt="2024-02-07T19:41:35.897" v="459" actId="1035"/>
          <ac:spMkLst>
            <pc:docMk/>
            <pc:sldMk cId="1585400437" sldId="2147468966"/>
            <ac:spMk id="14" creationId="{4B70E307-DAE3-83BC-003A-38FABC51E995}"/>
          </ac:spMkLst>
        </pc:spChg>
        <pc:spChg chg="mod">
          <ac:chgData name="Maureen S. Fleming" userId="55564240-5a0e-4b16-8a23-b6077a4b6df8" providerId="ADAL" clId="{A523986C-F6BF-417F-B370-76E7AC853AD0}" dt="2024-02-07T19:41:35.897" v="459" actId="1035"/>
          <ac:spMkLst>
            <pc:docMk/>
            <pc:sldMk cId="1585400437" sldId="2147468966"/>
            <ac:spMk id="759" creationId="{3BADE806-97C4-C52D-6972-2F312E7D9938}"/>
          </ac:spMkLst>
        </pc:spChg>
        <pc:picChg chg="del">
          <ac:chgData name="Maureen S. Fleming" userId="55564240-5a0e-4b16-8a23-b6077a4b6df8" providerId="ADAL" clId="{A523986C-F6BF-417F-B370-76E7AC853AD0}" dt="2024-02-07T19:41:32.078" v="443" actId="478"/>
          <ac:picMkLst>
            <pc:docMk/>
            <pc:sldMk cId="1585400437" sldId="2147468966"/>
            <ac:picMk id="8" creationId="{57412DAD-4CD9-3E2D-FB54-AFD1E913683B}"/>
          </ac:picMkLst>
        </pc:picChg>
        <pc:picChg chg="del">
          <ac:chgData name="Maureen S. Fleming" userId="55564240-5a0e-4b16-8a23-b6077a4b6df8" providerId="ADAL" clId="{A523986C-F6BF-417F-B370-76E7AC853AD0}" dt="2024-02-07T19:41:32.078" v="443" actId="478"/>
          <ac:picMkLst>
            <pc:docMk/>
            <pc:sldMk cId="1585400437" sldId="2147468966"/>
            <ac:picMk id="12" creationId="{62FCA906-31B1-AB68-2C3D-1D5965D2F198}"/>
          </ac:picMkLst>
        </pc:picChg>
        <pc:picChg chg="del">
          <ac:chgData name="Maureen S. Fleming" userId="55564240-5a0e-4b16-8a23-b6077a4b6df8" providerId="ADAL" clId="{A523986C-F6BF-417F-B370-76E7AC853AD0}" dt="2024-02-07T19:41:32.078" v="443" actId="478"/>
          <ac:picMkLst>
            <pc:docMk/>
            <pc:sldMk cId="1585400437" sldId="2147468966"/>
            <ac:picMk id="767" creationId="{29D670B7-BDA2-A0FF-14C5-B1BDE284D8EE}"/>
          </ac:picMkLst>
        </pc:picChg>
      </pc:sldChg>
      <pc:sldChg chg="delSp modSp mod">
        <pc:chgData name="Maureen S. Fleming" userId="55564240-5a0e-4b16-8a23-b6077a4b6df8" providerId="ADAL" clId="{A523986C-F6BF-417F-B370-76E7AC853AD0}" dt="2024-02-07T19:47:44.011" v="965" actId="1035"/>
        <pc:sldMkLst>
          <pc:docMk/>
          <pc:sldMk cId="1706440644" sldId="2147468967"/>
        </pc:sldMkLst>
        <pc:spChg chg="mod">
          <ac:chgData name="Maureen S. Fleming" userId="55564240-5a0e-4b16-8a23-b6077a4b6df8" providerId="ADAL" clId="{A523986C-F6BF-417F-B370-76E7AC853AD0}" dt="2024-02-07T19:47:44.011" v="965" actId="1035"/>
          <ac:spMkLst>
            <pc:docMk/>
            <pc:sldMk cId="1706440644" sldId="2147468967"/>
            <ac:spMk id="14" creationId="{11FF11EB-0FD2-9955-00C0-D7A6853BFED7}"/>
          </ac:spMkLst>
        </pc:spChg>
        <pc:spChg chg="mod">
          <ac:chgData name="Maureen S. Fleming" userId="55564240-5a0e-4b16-8a23-b6077a4b6df8" providerId="ADAL" clId="{A523986C-F6BF-417F-B370-76E7AC853AD0}" dt="2024-02-07T19:47:44.011" v="965" actId="1035"/>
          <ac:spMkLst>
            <pc:docMk/>
            <pc:sldMk cId="1706440644" sldId="2147468967"/>
            <ac:spMk id="759" creationId="{3BADE806-97C4-C52D-6972-2F312E7D9938}"/>
          </ac:spMkLst>
        </pc:spChg>
        <pc:picChg chg="del">
          <ac:chgData name="Maureen S. Fleming" userId="55564240-5a0e-4b16-8a23-b6077a4b6df8" providerId="ADAL" clId="{A523986C-F6BF-417F-B370-76E7AC853AD0}" dt="2024-02-07T19:47:40.464" v="949" actId="478"/>
          <ac:picMkLst>
            <pc:docMk/>
            <pc:sldMk cId="1706440644" sldId="2147468967"/>
            <ac:picMk id="8" creationId="{1008F750-D165-D59A-65D9-B29965AC43C0}"/>
          </ac:picMkLst>
        </pc:picChg>
        <pc:picChg chg="del">
          <ac:chgData name="Maureen S. Fleming" userId="55564240-5a0e-4b16-8a23-b6077a4b6df8" providerId="ADAL" clId="{A523986C-F6BF-417F-B370-76E7AC853AD0}" dt="2024-02-07T19:47:40.464" v="949" actId="478"/>
          <ac:picMkLst>
            <pc:docMk/>
            <pc:sldMk cId="1706440644" sldId="2147468967"/>
            <ac:picMk id="12" creationId="{9D9D5A90-A68E-DFAE-DCE7-2BFB295D0EEC}"/>
          </ac:picMkLst>
        </pc:picChg>
        <pc:picChg chg="del">
          <ac:chgData name="Maureen S. Fleming" userId="55564240-5a0e-4b16-8a23-b6077a4b6df8" providerId="ADAL" clId="{A523986C-F6BF-417F-B370-76E7AC853AD0}" dt="2024-02-07T19:47:40.464" v="949" actId="478"/>
          <ac:picMkLst>
            <pc:docMk/>
            <pc:sldMk cId="1706440644" sldId="2147468967"/>
            <ac:picMk id="767" creationId="{29D670B7-BDA2-A0FF-14C5-B1BDE284D8EE}"/>
          </ac:picMkLst>
        </pc:picChg>
      </pc:sldChg>
      <pc:sldChg chg="delSp modSp mod">
        <pc:chgData name="Maureen S. Fleming" userId="55564240-5a0e-4b16-8a23-b6077a4b6df8" providerId="ADAL" clId="{A523986C-F6BF-417F-B370-76E7AC853AD0}" dt="2024-02-07T19:51:12.450" v="1366" actId="1035"/>
        <pc:sldMkLst>
          <pc:docMk/>
          <pc:sldMk cId="2333652703" sldId="2147468968"/>
        </pc:sldMkLst>
        <pc:spChg chg="mod">
          <ac:chgData name="Maureen S. Fleming" userId="55564240-5a0e-4b16-8a23-b6077a4b6df8" providerId="ADAL" clId="{A523986C-F6BF-417F-B370-76E7AC853AD0}" dt="2024-02-07T19:51:12.450" v="1366" actId="1035"/>
          <ac:spMkLst>
            <pc:docMk/>
            <pc:sldMk cId="2333652703" sldId="2147468968"/>
            <ac:spMk id="12" creationId="{ED3A3415-0AE9-4BA8-A66A-13ADD5B759D3}"/>
          </ac:spMkLst>
        </pc:spChg>
        <pc:spChg chg="mod">
          <ac:chgData name="Maureen S. Fleming" userId="55564240-5a0e-4b16-8a23-b6077a4b6df8" providerId="ADAL" clId="{A523986C-F6BF-417F-B370-76E7AC853AD0}" dt="2024-02-07T19:51:12.450" v="1366" actId="1035"/>
          <ac:spMkLst>
            <pc:docMk/>
            <pc:sldMk cId="2333652703" sldId="2147468968"/>
            <ac:spMk id="759" creationId="{3BADE806-97C4-C52D-6972-2F312E7D9938}"/>
          </ac:spMkLst>
        </pc:spChg>
        <pc:picChg chg="del">
          <ac:chgData name="Maureen S. Fleming" userId="55564240-5a0e-4b16-8a23-b6077a4b6df8" providerId="ADAL" clId="{A523986C-F6BF-417F-B370-76E7AC853AD0}" dt="2024-02-07T19:51:08.412" v="1349" actId="478"/>
          <ac:picMkLst>
            <pc:docMk/>
            <pc:sldMk cId="2333652703" sldId="2147468968"/>
            <ac:picMk id="8" creationId="{A0D6A77C-8DC0-A3A6-0B57-DC1D3199992B}"/>
          </ac:picMkLst>
        </pc:picChg>
        <pc:picChg chg="del">
          <ac:chgData name="Maureen S. Fleming" userId="55564240-5a0e-4b16-8a23-b6077a4b6df8" providerId="ADAL" clId="{A523986C-F6BF-417F-B370-76E7AC853AD0}" dt="2024-02-07T19:51:08.412" v="1349" actId="478"/>
          <ac:picMkLst>
            <pc:docMk/>
            <pc:sldMk cId="2333652703" sldId="2147468968"/>
            <ac:picMk id="767" creationId="{29D670B7-BDA2-A0FF-14C5-B1BDE284D8EE}"/>
          </ac:picMkLst>
        </pc:picChg>
        <pc:picChg chg="del">
          <ac:chgData name="Maureen S. Fleming" userId="55564240-5a0e-4b16-8a23-b6077a4b6df8" providerId="ADAL" clId="{A523986C-F6BF-417F-B370-76E7AC853AD0}" dt="2024-02-07T19:51:08.412" v="1349" actId="478"/>
          <ac:picMkLst>
            <pc:docMk/>
            <pc:sldMk cId="2333652703" sldId="2147468968"/>
            <ac:picMk id="1026" creationId="{91BADC15-A1EF-DC06-C5EF-D39F1A22052A}"/>
          </ac:picMkLst>
        </pc:picChg>
      </pc:sldChg>
      <pc:sldChg chg="delSp modSp mod">
        <pc:chgData name="Maureen S. Fleming" userId="55564240-5a0e-4b16-8a23-b6077a4b6df8" providerId="ADAL" clId="{A523986C-F6BF-417F-B370-76E7AC853AD0}" dt="2024-02-07T19:47:17.512" v="904" actId="1036"/>
        <pc:sldMkLst>
          <pc:docMk/>
          <pc:sldMk cId="961251085" sldId="2147468970"/>
        </pc:sldMkLst>
        <pc:spChg chg="mod">
          <ac:chgData name="Maureen S. Fleming" userId="55564240-5a0e-4b16-8a23-b6077a4b6df8" providerId="ADAL" clId="{A523986C-F6BF-417F-B370-76E7AC853AD0}" dt="2024-02-07T19:47:17.512" v="904" actId="1036"/>
          <ac:spMkLst>
            <pc:docMk/>
            <pc:sldMk cId="961251085" sldId="2147468970"/>
            <ac:spMk id="14" creationId="{398955AB-81B0-4FA3-D480-4B3B1BE409C2}"/>
          </ac:spMkLst>
        </pc:spChg>
        <pc:spChg chg="mod">
          <ac:chgData name="Maureen S. Fleming" userId="55564240-5a0e-4b16-8a23-b6077a4b6df8" providerId="ADAL" clId="{A523986C-F6BF-417F-B370-76E7AC853AD0}" dt="2024-02-07T19:47:17.512" v="904" actId="1036"/>
          <ac:spMkLst>
            <pc:docMk/>
            <pc:sldMk cId="961251085" sldId="2147468970"/>
            <ac:spMk id="759" creationId="{3BADE806-97C4-C52D-6972-2F312E7D9938}"/>
          </ac:spMkLst>
        </pc:spChg>
        <pc:picChg chg="del">
          <ac:chgData name="Maureen S. Fleming" userId="55564240-5a0e-4b16-8a23-b6077a4b6df8" providerId="ADAL" clId="{A523986C-F6BF-417F-B370-76E7AC853AD0}" dt="2024-02-07T19:47:14.112" v="887" actId="478"/>
          <ac:picMkLst>
            <pc:docMk/>
            <pc:sldMk cId="961251085" sldId="2147468970"/>
            <ac:picMk id="8" creationId="{8CAF3665-4B75-E95A-F0AA-F0990AD712FA}"/>
          </ac:picMkLst>
        </pc:picChg>
        <pc:picChg chg="del">
          <ac:chgData name="Maureen S. Fleming" userId="55564240-5a0e-4b16-8a23-b6077a4b6df8" providerId="ADAL" clId="{A523986C-F6BF-417F-B370-76E7AC853AD0}" dt="2024-02-07T19:47:14.112" v="887" actId="478"/>
          <ac:picMkLst>
            <pc:docMk/>
            <pc:sldMk cId="961251085" sldId="2147468970"/>
            <ac:picMk id="12" creationId="{5963656A-188C-4A8F-235D-A2D469E7DC3B}"/>
          </ac:picMkLst>
        </pc:picChg>
        <pc:picChg chg="del">
          <ac:chgData name="Maureen S. Fleming" userId="55564240-5a0e-4b16-8a23-b6077a4b6df8" providerId="ADAL" clId="{A523986C-F6BF-417F-B370-76E7AC853AD0}" dt="2024-02-07T19:47:14.112" v="887" actId="478"/>
          <ac:picMkLst>
            <pc:docMk/>
            <pc:sldMk cId="961251085" sldId="2147468970"/>
            <ac:picMk id="767" creationId="{29D670B7-BDA2-A0FF-14C5-B1BDE284D8EE}"/>
          </ac:picMkLst>
        </pc:picChg>
      </pc:sldChg>
      <pc:sldChg chg="delSp modSp mod">
        <pc:chgData name="Maureen S. Fleming" userId="55564240-5a0e-4b16-8a23-b6077a4b6df8" providerId="ADAL" clId="{A523986C-F6BF-417F-B370-76E7AC853AD0}" dt="2024-02-07T19:47:26.932" v="932" actId="1035"/>
        <pc:sldMkLst>
          <pc:docMk/>
          <pc:sldMk cId="1104085016" sldId="2147468971"/>
        </pc:sldMkLst>
        <pc:spChg chg="mod">
          <ac:chgData name="Maureen S. Fleming" userId="55564240-5a0e-4b16-8a23-b6077a4b6df8" providerId="ADAL" clId="{A523986C-F6BF-417F-B370-76E7AC853AD0}" dt="2024-02-07T19:47:26.932" v="932" actId="1035"/>
          <ac:spMkLst>
            <pc:docMk/>
            <pc:sldMk cId="1104085016" sldId="2147468971"/>
            <ac:spMk id="14" creationId="{9F52C379-5BC2-B3E1-3FEE-75D574DB8054}"/>
          </ac:spMkLst>
        </pc:spChg>
        <pc:spChg chg="mod">
          <ac:chgData name="Maureen S. Fleming" userId="55564240-5a0e-4b16-8a23-b6077a4b6df8" providerId="ADAL" clId="{A523986C-F6BF-417F-B370-76E7AC853AD0}" dt="2024-02-07T19:47:26.932" v="932" actId="1035"/>
          <ac:spMkLst>
            <pc:docMk/>
            <pc:sldMk cId="1104085016" sldId="2147468971"/>
            <ac:spMk id="759" creationId="{3BADE806-97C4-C52D-6972-2F312E7D9938}"/>
          </ac:spMkLst>
        </pc:spChg>
        <pc:picChg chg="del">
          <ac:chgData name="Maureen S. Fleming" userId="55564240-5a0e-4b16-8a23-b6077a4b6df8" providerId="ADAL" clId="{A523986C-F6BF-417F-B370-76E7AC853AD0}" dt="2024-02-07T19:47:21.348" v="905" actId="478"/>
          <ac:picMkLst>
            <pc:docMk/>
            <pc:sldMk cId="1104085016" sldId="2147468971"/>
            <ac:picMk id="8" creationId="{ACD6F4AD-78EE-CD66-0190-DB1207C61B5A}"/>
          </ac:picMkLst>
        </pc:picChg>
        <pc:picChg chg="del">
          <ac:chgData name="Maureen S. Fleming" userId="55564240-5a0e-4b16-8a23-b6077a4b6df8" providerId="ADAL" clId="{A523986C-F6BF-417F-B370-76E7AC853AD0}" dt="2024-02-07T19:47:21.348" v="905" actId="478"/>
          <ac:picMkLst>
            <pc:docMk/>
            <pc:sldMk cId="1104085016" sldId="2147468971"/>
            <ac:picMk id="12" creationId="{397008BA-3A29-BCBB-8B20-7E6CB4017203}"/>
          </ac:picMkLst>
        </pc:picChg>
        <pc:picChg chg="del">
          <ac:chgData name="Maureen S. Fleming" userId="55564240-5a0e-4b16-8a23-b6077a4b6df8" providerId="ADAL" clId="{A523986C-F6BF-417F-B370-76E7AC853AD0}" dt="2024-02-07T19:47:21.348" v="905" actId="478"/>
          <ac:picMkLst>
            <pc:docMk/>
            <pc:sldMk cId="1104085016" sldId="2147468971"/>
            <ac:picMk id="767" creationId="{29D670B7-BDA2-A0FF-14C5-B1BDE284D8EE}"/>
          </ac:picMkLst>
        </pc:picChg>
      </pc:sldChg>
      <pc:sldChg chg="delSp modSp mod">
        <pc:chgData name="Maureen S. Fleming" userId="55564240-5a0e-4b16-8a23-b6077a4b6df8" providerId="ADAL" clId="{A523986C-F6BF-417F-B370-76E7AC853AD0}" dt="2024-02-07T19:46:35.545" v="832" actId="1035"/>
        <pc:sldMkLst>
          <pc:docMk/>
          <pc:sldMk cId="551777278" sldId="2147468972"/>
        </pc:sldMkLst>
        <pc:spChg chg="mod">
          <ac:chgData name="Maureen S. Fleming" userId="55564240-5a0e-4b16-8a23-b6077a4b6df8" providerId="ADAL" clId="{A523986C-F6BF-417F-B370-76E7AC853AD0}" dt="2024-02-07T19:46:35.545" v="832" actId="1035"/>
          <ac:spMkLst>
            <pc:docMk/>
            <pc:sldMk cId="551777278" sldId="2147468972"/>
            <ac:spMk id="14" creationId="{F73EB8EC-62C8-72CF-E685-20946896D98B}"/>
          </ac:spMkLst>
        </pc:spChg>
        <pc:spChg chg="mod">
          <ac:chgData name="Maureen S. Fleming" userId="55564240-5a0e-4b16-8a23-b6077a4b6df8" providerId="ADAL" clId="{A523986C-F6BF-417F-B370-76E7AC853AD0}" dt="2024-02-07T19:46:35.545" v="832" actId="1035"/>
          <ac:spMkLst>
            <pc:docMk/>
            <pc:sldMk cId="551777278" sldId="2147468972"/>
            <ac:spMk id="759" creationId="{3BADE806-97C4-C52D-6972-2F312E7D9938}"/>
          </ac:spMkLst>
        </pc:spChg>
        <pc:picChg chg="del">
          <ac:chgData name="Maureen S. Fleming" userId="55564240-5a0e-4b16-8a23-b6077a4b6df8" providerId="ADAL" clId="{A523986C-F6BF-417F-B370-76E7AC853AD0}" dt="2024-02-07T19:46:32.510" v="817" actId="478"/>
          <ac:picMkLst>
            <pc:docMk/>
            <pc:sldMk cId="551777278" sldId="2147468972"/>
            <ac:picMk id="8" creationId="{820CBCB9-4600-1CCF-2FDF-C7E7F7321AF4}"/>
          </ac:picMkLst>
        </pc:picChg>
        <pc:picChg chg="del">
          <ac:chgData name="Maureen S. Fleming" userId="55564240-5a0e-4b16-8a23-b6077a4b6df8" providerId="ADAL" clId="{A523986C-F6BF-417F-B370-76E7AC853AD0}" dt="2024-02-07T19:46:32.510" v="817" actId="478"/>
          <ac:picMkLst>
            <pc:docMk/>
            <pc:sldMk cId="551777278" sldId="2147468972"/>
            <ac:picMk id="12" creationId="{8E81D395-6AF8-47FA-1EEC-02A98A4098E5}"/>
          </ac:picMkLst>
        </pc:picChg>
        <pc:picChg chg="del">
          <ac:chgData name="Maureen S. Fleming" userId="55564240-5a0e-4b16-8a23-b6077a4b6df8" providerId="ADAL" clId="{A523986C-F6BF-417F-B370-76E7AC853AD0}" dt="2024-02-07T19:46:32.510" v="817" actId="478"/>
          <ac:picMkLst>
            <pc:docMk/>
            <pc:sldMk cId="551777278" sldId="2147468972"/>
            <ac:picMk id="767" creationId="{29D670B7-BDA2-A0FF-14C5-B1BDE284D8EE}"/>
          </ac:picMkLst>
        </pc:picChg>
      </pc:sldChg>
      <pc:sldChg chg="delSp modSp mod">
        <pc:chgData name="Maureen S. Fleming" userId="55564240-5a0e-4b16-8a23-b6077a4b6df8" providerId="ADAL" clId="{A523986C-F6BF-417F-B370-76E7AC853AD0}" dt="2024-02-07T19:45:56.795" v="753" actId="1035"/>
        <pc:sldMkLst>
          <pc:docMk/>
          <pc:sldMk cId="3198513499" sldId="2147468973"/>
        </pc:sldMkLst>
        <pc:spChg chg="mod">
          <ac:chgData name="Maureen S. Fleming" userId="55564240-5a0e-4b16-8a23-b6077a4b6df8" providerId="ADAL" clId="{A523986C-F6BF-417F-B370-76E7AC853AD0}" dt="2024-02-07T19:45:56.795" v="753" actId="1035"/>
          <ac:spMkLst>
            <pc:docMk/>
            <pc:sldMk cId="3198513499" sldId="2147468973"/>
            <ac:spMk id="14" creationId="{4A282F45-D757-66FC-F577-D9ABEC57C2E3}"/>
          </ac:spMkLst>
        </pc:spChg>
        <pc:spChg chg="mod">
          <ac:chgData name="Maureen S. Fleming" userId="55564240-5a0e-4b16-8a23-b6077a4b6df8" providerId="ADAL" clId="{A523986C-F6BF-417F-B370-76E7AC853AD0}" dt="2024-02-07T19:45:56.795" v="753" actId="1035"/>
          <ac:spMkLst>
            <pc:docMk/>
            <pc:sldMk cId="3198513499" sldId="2147468973"/>
            <ac:spMk id="759" creationId="{3BADE806-97C4-C52D-6972-2F312E7D9938}"/>
          </ac:spMkLst>
        </pc:spChg>
        <pc:picChg chg="del">
          <ac:chgData name="Maureen S. Fleming" userId="55564240-5a0e-4b16-8a23-b6077a4b6df8" providerId="ADAL" clId="{A523986C-F6BF-417F-B370-76E7AC853AD0}" dt="2024-02-07T19:45:53.482" v="738" actId="478"/>
          <ac:picMkLst>
            <pc:docMk/>
            <pc:sldMk cId="3198513499" sldId="2147468973"/>
            <ac:picMk id="8" creationId="{FF88008F-7756-FCD0-EF20-578D4095CC7F}"/>
          </ac:picMkLst>
        </pc:picChg>
        <pc:picChg chg="del">
          <ac:chgData name="Maureen S. Fleming" userId="55564240-5a0e-4b16-8a23-b6077a4b6df8" providerId="ADAL" clId="{A523986C-F6BF-417F-B370-76E7AC853AD0}" dt="2024-02-07T19:45:53.482" v="738" actId="478"/>
          <ac:picMkLst>
            <pc:docMk/>
            <pc:sldMk cId="3198513499" sldId="2147468973"/>
            <ac:picMk id="12" creationId="{F04D381A-BDEA-F3DD-2FC6-0F27344DA230}"/>
          </ac:picMkLst>
        </pc:picChg>
        <pc:picChg chg="del">
          <ac:chgData name="Maureen S. Fleming" userId="55564240-5a0e-4b16-8a23-b6077a4b6df8" providerId="ADAL" clId="{A523986C-F6BF-417F-B370-76E7AC853AD0}" dt="2024-02-07T19:45:53.482" v="738" actId="478"/>
          <ac:picMkLst>
            <pc:docMk/>
            <pc:sldMk cId="3198513499" sldId="2147468973"/>
            <ac:picMk id="767" creationId="{29D670B7-BDA2-A0FF-14C5-B1BDE284D8EE}"/>
          </ac:picMkLst>
        </pc:picChg>
      </pc:sldChg>
      <pc:sldChg chg="delSp modSp mod">
        <pc:chgData name="Maureen S. Fleming" userId="55564240-5a0e-4b16-8a23-b6077a4b6df8" providerId="ADAL" clId="{A523986C-F6BF-417F-B370-76E7AC853AD0}" dt="2024-02-07T19:41:48.345" v="461" actId="1076"/>
        <pc:sldMkLst>
          <pc:docMk/>
          <pc:sldMk cId="3778263138" sldId="2147468977"/>
        </pc:sldMkLst>
        <pc:spChg chg="mod">
          <ac:chgData name="Maureen S. Fleming" userId="55564240-5a0e-4b16-8a23-b6077a4b6df8" providerId="ADAL" clId="{A523986C-F6BF-417F-B370-76E7AC853AD0}" dt="2024-02-07T19:41:48.345" v="461" actId="1076"/>
          <ac:spMkLst>
            <pc:docMk/>
            <pc:sldMk cId="3778263138" sldId="2147468977"/>
            <ac:spMk id="759" creationId="{3BADE806-97C4-C52D-6972-2F312E7D9938}"/>
          </ac:spMkLst>
        </pc:spChg>
        <pc:picChg chg="del">
          <ac:chgData name="Maureen S. Fleming" userId="55564240-5a0e-4b16-8a23-b6077a4b6df8" providerId="ADAL" clId="{A523986C-F6BF-417F-B370-76E7AC853AD0}" dt="2024-02-07T19:41:45.445" v="460" actId="478"/>
          <ac:picMkLst>
            <pc:docMk/>
            <pc:sldMk cId="3778263138" sldId="2147468977"/>
            <ac:picMk id="8" creationId="{E266795E-2422-5DAD-C22E-10B579F7CF74}"/>
          </ac:picMkLst>
        </pc:picChg>
      </pc:sldChg>
      <pc:sldChg chg="delSp modSp mod">
        <pc:chgData name="Maureen S. Fleming" userId="55564240-5a0e-4b16-8a23-b6077a4b6df8" providerId="ADAL" clId="{A523986C-F6BF-417F-B370-76E7AC853AD0}" dt="2024-02-07T19:40:33.055" v="370" actId="1076"/>
        <pc:sldMkLst>
          <pc:docMk/>
          <pc:sldMk cId="829282926" sldId="2147468978"/>
        </pc:sldMkLst>
        <pc:spChg chg="mod">
          <ac:chgData name="Maureen S. Fleming" userId="55564240-5a0e-4b16-8a23-b6077a4b6df8" providerId="ADAL" clId="{A523986C-F6BF-417F-B370-76E7AC853AD0}" dt="2024-02-07T19:40:33.055" v="370" actId="1076"/>
          <ac:spMkLst>
            <pc:docMk/>
            <pc:sldMk cId="829282926" sldId="2147468978"/>
            <ac:spMk id="760" creationId="{16F0A96B-3D1E-E8DF-AC52-46F2C43A756E}"/>
          </ac:spMkLst>
        </pc:spChg>
        <pc:picChg chg="del">
          <ac:chgData name="Maureen S. Fleming" userId="55564240-5a0e-4b16-8a23-b6077a4b6df8" providerId="ADAL" clId="{A523986C-F6BF-417F-B370-76E7AC853AD0}" dt="2024-02-07T19:40:29.188" v="369" actId="478"/>
          <ac:picMkLst>
            <pc:docMk/>
            <pc:sldMk cId="829282926" sldId="2147468978"/>
            <ac:picMk id="3074" creationId="{711E56A5-0D3A-8F9B-96E7-89F340BE844C}"/>
          </ac:picMkLst>
        </pc:picChg>
      </pc:sldChg>
      <pc:sldChg chg="delSp modSp mod">
        <pc:chgData name="Maureen S. Fleming" userId="55564240-5a0e-4b16-8a23-b6077a4b6df8" providerId="ADAL" clId="{A523986C-F6BF-417F-B370-76E7AC853AD0}" dt="2024-02-07T19:47:35.932" v="948" actId="1035"/>
        <pc:sldMkLst>
          <pc:docMk/>
          <pc:sldMk cId="4090729782" sldId="2147468979"/>
        </pc:sldMkLst>
        <pc:spChg chg="mod">
          <ac:chgData name="Maureen S. Fleming" userId="55564240-5a0e-4b16-8a23-b6077a4b6df8" providerId="ADAL" clId="{A523986C-F6BF-417F-B370-76E7AC853AD0}" dt="2024-02-07T19:47:35.932" v="948" actId="1035"/>
          <ac:spMkLst>
            <pc:docMk/>
            <pc:sldMk cId="4090729782" sldId="2147468979"/>
            <ac:spMk id="12" creationId="{E1430A3B-D5F1-A386-3332-BB490057B92E}"/>
          </ac:spMkLst>
        </pc:spChg>
        <pc:spChg chg="mod">
          <ac:chgData name="Maureen S. Fleming" userId="55564240-5a0e-4b16-8a23-b6077a4b6df8" providerId="ADAL" clId="{A523986C-F6BF-417F-B370-76E7AC853AD0}" dt="2024-02-07T19:47:35.932" v="948" actId="1035"/>
          <ac:spMkLst>
            <pc:docMk/>
            <pc:sldMk cId="4090729782" sldId="2147468979"/>
            <ac:spMk id="759" creationId="{3BADE806-97C4-C52D-6972-2F312E7D9938}"/>
          </ac:spMkLst>
        </pc:spChg>
        <pc:picChg chg="del">
          <ac:chgData name="Maureen S. Fleming" userId="55564240-5a0e-4b16-8a23-b6077a4b6df8" providerId="ADAL" clId="{A523986C-F6BF-417F-B370-76E7AC853AD0}" dt="2024-02-07T19:47:31.882" v="933" actId="478"/>
          <ac:picMkLst>
            <pc:docMk/>
            <pc:sldMk cId="4090729782" sldId="2147468979"/>
            <ac:picMk id="767" creationId="{29D670B7-BDA2-A0FF-14C5-B1BDE284D8EE}"/>
          </ac:picMkLst>
        </pc:picChg>
        <pc:picChg chg="del">
          <ac:chgData name="Maureen S. Fleming" userId="55564240-5a0e-4b16-8a23-b6077a4b6df8" providerId="ADAL" clId="{A523986C-F6BF-417F-B370-76E7AC853AD0}" dt="2024-02-07T19:47:31.882" v="933" actId="478"/>
          <ac:picMkLst>
            <pc:docMk/>
            <pc:sldMk cId="4090729782" sldId="2147468979"/>
            <ac:picMk id="2052" creationId="{EE3A3285-62AC-68EC-489D-BBEDCDB20428}"/>
          </ac:picMkLst>
        </pc:picChg>
        <pc:picChg chg="del">
          <ac:chgData name="Maureen S. Fleming" userId="55564240-5a0e-4b16-8a23-b6077a4b6df8" providerId="ADAL" clId="{A523986C-F6BF-417F-B370-76E7AC853AD0}" dt="2024-02-07T19:47:31.882" v="933" actId="478"/>
          <ac:picMkLst>
            <pc:docMk/>
            <pc:sldMk cId="4090729782" sldId="2147468979"/>
            <ac:picMk id="2054" creationId="{B1863745-2FA2-E790-D51E-6EE9104BA114}"/>
          </ac:picMkLst>
        </pc:picChg>
      </pc:sldChg>
      <pc:sldChg chg="delSp modSp mod">
        <pc:chgData name="Maureen S. Fleming" userId="55564240-5a0e-4b16-8a23-b6077a4b6df8" providerId="ADAL" clId="{A523986C-F6BF-417F-B370-76E7AC853AD0}" dt="2024-02-07T19:36:48.031" v="88" actId="1076"/>
        <pc:sldMkLst>
          <pc:docMk/>
          <pc:sldMk cId="804094735" sldId="2147468981"/>
        </pc:sldMkLst>
        <pc:spChg chg="mod">
          <ac:chgData name="Maureen S. Fleming" userId="55564240-5a0e-4b16-8a23-b6077a4b6df8" providerId="ADAL" clId="{A523986C-F6BF-417F-B370-76E7AC853AD0}" dt="2024-02-07T19:36:48.031" v="88" actId="1076"/>
          <ac:spMkLst>
            <pc:docMk/>
            <pc:sldMk cId="804094735" sldId="2147468981"/>
            <ac:spMk id="19" creationId="{908584C9-8053-BAF4-2837-F31222763A77}"/>
          </ac:spMkLst>
        </pc:spChg>
        <pc:spChg chg="mod">
          <ac:chgData name="Maureen S. Fleming" userId="55564240-5a0e-4b16-8a23-b6077a4b6df8" providerId="ADAL" clId="{A523986C-F6BF-417F-B370-76E7AC853AD0}" dt="2024-02-07T19:36:44.159" v="87" actId="1076"/>
          <ac:spMkLst>
            <pc:docMk/>
            <pc:sldMk cId="804094735" sldId="2147468981"/>
            <ac:spMk id="20" creationId="{8BC02F85-542C-62AC-AE9B-960CD2FC3FDC}"/>
          </ac:spMkLst>
        </pc:spChg>
        <pc:picChg chg="del">
          <ac:chgData name="Maureen S. Fleming" userId="55564240-5a0e-4b16-8a23-b6077a4b6df8" providerId="ADAL" clId="{A523986C-F6BF-417F-B370-76E7AC853AD0}" dt="2024-02-07T19:36:40.560" v="86" actId="478"/>
          <ac:picMkLst>
            <pc:docMk/>
            <pc:sldMk cId="804094735" sldId="2147468981"/>
            <ac:picMk id="18" creationId="{390A0B34-73DA-A08E-28FC-FD7F881CDA39}"/>
          </ac:picMkLst>
        </pc:picChg>
        <pc:picChg chg="del">
          <ac:chgData name="Maureen S. Fleming" userId="55564240-5a0e-4b16-8a23-b6077a4b6df8" providerId="ADAL" clId="{A523986C-F6BF-417F-B370-76E7AC853AD0}" dt="2024-02-07T19:36:40.560" v="86" actId="478"/>
          <ac:picMkLst>
            <pc:docMk/>
            <pc:sldMk cId="804094735" sldId="2147468981"/>
            <ac:picMk id="21" creationId="{281F5FD2-C0D9-55BD-0369-5E087C3AB227}"/>
          </ac:picMkLst>
        </pc:picChg>
        <pc:picChg chg="del">
          <ac:chgData name="Maureen S. Fleming" userId="55564240-5a0e-4b16-8a23-b6077a4b6df8" providerId="ADAL" clId="{A523986C-F6BF-417F-B370-76E7AC853AD0}" dt="2024-02-07T19:36:40.560" v="86" actId="478"/>
          <ac:picMkLst>
            <pc:docMk/>
            <pc:sldMk cId="804094735" sldId="2147468981"/>
            <ac:picMk id="767" creationId="{29D670B7-BDA2-A0FF-14C5-B1BDE284D8EE}"/>
          </ac:picMkLst>
        </pc:picChg>
      </pc:sldChg>
      <pc:sldChg chg="delSp modSp mod">
        <pc:chgData name="Maureen S. Fleming" userId="55564240-5a0e-4b16-8a23-b6077a4b6df8" providerId="ADAL" clId="{A523986C-F6BF-417F-B370-76E7AC853AD0}" dt="2024-02-07T19:49:43.650" v="1199" actId="1076"/>
        <pc:sldMkLst>
          <pc:docMk/>
          <pc:sldMk cId="1416273980" sldId="2147468982"/>
        </pc:sldMkLst>
        <pc:spChg chg="mod">
          <ac:chgData name="Maureen S. Fleming" userId="55564240-5a0e-4b16-8a23-b6077a4b6df8" providerId="ADAL" clId="{A523986C-F6BF-417F-B370-76E7AC853AD0}" dt="2024-02-07T19:49:43.650" v="1199" actId="1076"/>
          <ac:spMkLst>
            <pc:docMk/>
            <pc:sldMk cId="1416273980" sldId="2147468982"/>
            <ac:spMk id="19" creationId="{908584C9-8053-BAF4-2837-F31222763A77}"/>
          </ac:spMkLst>
        </pc:spChg>
        <pc:spChg chg="mod">
          <ac:chgData name="Maureen S. Fleming" userId="55564240-5a0e-4b16-8a23-b6077a4b6df8" providerId="ADAL" clId="{A523986C-F6BF-417F-B370-76E7AC853AD0}" dt="2024-02-07T19:49:43.650" v="1199" actId="1076"/>
          <ac:spMkLst>
            <pc:docMk/>
            <pc:sldMk cId="1416273980" sldId="2147468982"/>
            <ac:spMk id="20" creationId="{8BC02F85-542C-62AC-AE9B-960CD2FC3FDC}"/>
          </ac:spMkLst>
        </pc:spChg>
        <pc:picChg chg="del">
          <ac:chgData name="Maureen S. Fleming" userId="55564240-5a0e-4b16-8a23-b6077a4b6df8" providerId="ADAL" clId="{A523986C-F6BF-417F-B370-76E7AC853AD0}" dt="2024-02-07T19:49:39.978" v="1198" actId="478"/>
          <ac:picMkLst>
            <pc:docMk/>
            <pc:sldMk cId="1416273980" sldId="2147468982"/>
            <ac:picMk id="18" creationId="{390A0B34-73DA-A08E-28FC-FD7F881CDA39}"/>
          </ac:picMkLst>
        </pc:picChg>
        <pc:picChg chg="del">
          <ac:chgData name="Maureen S. Fleming" userId="55564240-5a0e-4b16-8a23-b6077a4b6df8" providerId="ADAL" clId="{A523986C-F6BF-417F-B370-76E7AC853AD0}" dt="2024-02-07T19:49:39.978" v="1198" actId="478"/>
          <ac:picMkLst>
            <pc:docMk/>
            <pc:sldMk cId="1416273980" sldId="2147468982"/>
            <ac:picMk id="21" creationId="{281F5FD2-C0D9-55BD-0369-5E087C3AB227}"/>
          </ac:picMkLst>
        </pc:picChg>
        <pc:picChg chg="del">
          <ac:chgData name="Maureen S. Fleming" userId="55564240-5a0e-4b16-8a23-b6077a4b6df8" providerId="ADAL" clId="{A523986C-F6BF-417F-B370-76E7AC853AD0}" dt="2024-02-07T19:49:39.978" v="1198" actId="478"/>
          <ac:picMkLst>
            <pc:docMk/>
            <pc:sldMk cId="1416273980" sldId="2147468982"/>
            <ac:picMk id="767" creationId="{29D670B7-BDA2-A0FF-14C5-B1BDE284D8EE}"/>
          </ac:picMkLst>
        </pc:picChg>
      </pc:sldChg>
      <pc:sldChg chg="delSp modSp mod">
        <pc:chgData name="Maureen S. Fleming" userId="55564240-5a0e-4b16-8a23-b6077a4b6df8" providerId="ADAL" clId="{A523986C-F6BF-417F-B370-76E7AC853AD0}" dt="2024-02-07T19:52:03.758" v="1421" actId="1035"/>
        <pc:sldMkLst>
          <pc:docMk/>
          <pc:sldMk cId="1520435373" sldId="2147468983"/>
        </pc:sldMkLst>
        <pc:spChg chg="mod">
          <ac:chgData name="Maureen S. Fleming" userId="55564240-5a0e-4b16-8a23-b6077a4b6df8" providerId="ADAL" clId="{A523986C-F6BF-417F-B370-76E7AC853AD0}" dt="2024-02-07T19:52:03.758" v="1421" actId="1035"/>
          <ac:spMkLst>
            <pc:docMk/>
            <pc:sldMk cId="1520435373" sldId="2147468983"/>
            <ac:spMk id="19" creationId="{908584C9-8053-BAF4-2837-F31222763A77}"/>
          </ac:spMkLst>
        </pc:spChg>
        <pc:spChg chg="mod">
          <ac:chgData name="Maureen S. Fleming" userId="55564240-5a0e-4b16-8a23-b6077a4b6df8" providerId="ADAL" clId="{A523986C-F6BF-417F-B370-76E7AC853AD0}" dt="2024-02-07T19:52:03.758" v="1421" actId="1035"/>
          <ac:spMkLst>
            <pc:docMk/>
            <pc:sldMk cId="1520435373" sldId="2147468983"/>
            <ac:spMk id="20" creationId="{8BC02F85-542C-62AC-AE9B-960CD2FC3FDC}"/>
          </ac:spMkLst>
        </pc:spChg>
        <pc:picChg chg="del">
          <ac:chgData name="Maureen S. Fleming" userId="55564240-5a0e-4b16-8a23-b6077a4b6df8" providerId="ADAL" clId="{A523986C-F6BF-417F-B370-76E7AC853AD0}" dt="2024-02-07T19:51:59.963" v="1405" actId="478"/>
          <ac:picMkLst>
            <pc:docMk/>
            <pc:sldMk cId="1520435373" sldId="2147468983"/>
            <ac:picMk id="18" creationId="{390A0B34-73DA-A08E-28FC-FD7F881CDA39}"/>
          </ac:picMkLst>
        </pc:picChg>
        <pc:picChg chg="del">
          <ac:chgData name="Maureen S. Fleming" userId="55564240-5a0e-4b16-8a23-b6077a4b6df8" providerId="ADAL" clId="{A523986C-F6BF-417F-B370-76E7AC853AD0}" dt="2024-02-07T19:51:59.963" v="1405" actId="478"/>
          <ac:picMkLst>
            <pc:docMk/>
            <pc:sldMk cId="1520435373" sldId="2147468983"/>
            <ac:picMk id="21" creationId="{281F5FD2-C0D9-55BD-0369-5E087C3AB227}"/>
          </ac:picMkLst>
        </pc:picChg>
        <pc:picChg chg="del">
          <ac:chgData name="Maureen S. Fleming" userId="55564240-5a0e-4b16-8a23-b6077a4b6df8" providerId="ADAL" clId="{A523986C-F6BF-417F-B370-76E7AC853AD0}" dt="2024-02-07T19:51:59.963" v="1405" actId="478"/>
          <ac:picMkLst>
            <pc:docMk/>
            <pc:sldMk cId="1520435373" sldId="2147468983"/>
            <ac:picMk id="767" creationId="{29D670B7-BDA2-A0FF-14C5-B1BDE284D8EE}"/>
          </ac:picMkLst>
        </pc:picChg>
      </pc:sldChg>
      <pc:sldChg chg="delSp modSp mod">
        <pc:chgData name="Maureen S. Fleming" userId="55564240-5a0e-4b16-8a23-b6077a4b6df8" providerId="ADAL" clId="{A523986C-F6BF-417F-B370-76E7AC853AD0}" dt="2024-02-07T19:45:30.777" v="705" actId="255"/>
        <pc:sldMkLst>
          <pc:docMk/>
          <pc:sldMk cId="1609203668" sldId="2147468985"/>
        </pc:sldMkLst>
        <pc:spChg chg="mod">
          <ac:chgData name="Maureen S. Fleming" userId="55564240-5a0e-4b16-8a23-b6077a4b6df8" providerId="ADAL" clId="{A523986C-F6BF-417F-B370-76E7AC853AD0}" dt="2024-02-07T19:45:24.861" v="704" actId="1035"/>
          <ac:spMkLst>
            <pc:docMk/>
            <pc:sldMk cId="1609203668" sldId="2147468985"/>
            <ac:spMk id="19" creationId="{908584C9-8053-BAF4-2837-F31222763A77}"/>
          </ac:spMkLst>
        </pc:spChg>
        <pc:spChg chg="mod">
          <ac:chgData name="Maureen S. Fleming" userId="55564240-5a0e-4b16-8a23-b6077a4b6df8" providerId="ADAL" clId="{A523986C-F6BF-417F-B370-76E7AC853AD0}" dt="2024-02-07T19:45:30.777" v="705" actId="255"/>
          <ac:spMkLst>
            <pc:docMk/>
            <pc:sldMk cId="1609203668" sldId="2147468985"/>
            <ac:spMk id="20" creationId="{8BC02F85-542C-62AC-AE9B-960CD2FC3FDC}"/>
          </ac:spMkLst>
        </pc:spChg>
        <pc:picChg chg="del mod">
          <ac:chgData name="Maureen S. Fleming" userId="55564240-5a0e-4b16-8a23-b6077a4b6df8" providerId="ADAL" clId="{A523986C-F6BF-417F-B370-76E7AC853AD0}" dt="2024-02-07T19:45:20.431" v="683" actId="478"/>
          <ac:picMkLst>
            <pc:docMk/>
            <pc:sldMk cId="1609203668" sldId="2147468985"/>
            <ac:picMk id="767" creationId="{29D670B7-BDA2-A0FF-14C5-B1BDE284D8EE}"/>
          </ac:picMkLst>
        </pc:picChg>
        <pc:picChg chg="del mod">
          <ac:chgData name="Maureen S. Fleming" userId="55564240-5a0e-4b16-8a23-b6077a4b6df8" providerId="ADAL" clId="{A523986C-F6BF-417F-B370-76E7AC853AD0}" dt="2024-02-07T19:45:20.431" v="683" actId="478"/>
          <ac:picMkLst>
            <pc:docMk/>
            <pc:sldMk cId="1609203668" sldId="2147468985"/>
            <ac:picMk id="1026" creationId="{AB4EBD3A-6CAC-695B-0C0D-222AA33F09F4}"/>
          </ac:picMkLst>
        </pc:picChg>
        <pc:picChg chg="del mod">
          <ac:chgData name="Maureen S. Fleming" userId="55564240-5a0e-4b16-8a23-b6077a4b6df8" providerId="ADAL" clId="{A523986C-F6BF-417F-B370-76E7AC853AD0}" dt="2024-02-07T19:45:20.431" v="683" actId="478"/>
          <ac:picMkLst>
            <pc:docMk/>
            <pc:sldMk cId="1609203668" sldId="2147468985"/>
            <ac:picMk id="1028" creationId="{A2F23B9D-4411-B075-AE2F-C7049810F550}"/>
          </ac:picMkLst>
        </pc:picChg>
      </pc:sldChg>
      <pc:sldChg chg="delSp modSp mod">
        <pc:chgData name="Maureen S. Fleming" userId="55564240-5a0e-4b16-8a23-b6077a4b6df8" providerId="ADAL" clId="{A523986C-F6BF-417F-B370-76E7AC853AD0}" dt="2024-02-07T19:51:48.564" v="1404" actId="1035"/>
        <pc:sldMkLst>
          <pc:docMk/>
          <pc:sldMk cId="1375069938" sldId="2147468986"/>
        </pc:sldMkLst>
        <pc:spChg chg="mod">
          <ac:chgData name="Maureen S. Fleming" userId="55564240-5a0e-4b16-8a23-b6077a4b6df8" providerId="ADAL" clId="{A523986C-F6BF-417F-B370-76E7AC853AD0}" dt="2024-02-07T19:51:48.564" v="1404" actId="1035"/>
          <ac:spMkLst>
            <pc:docMk/>
            <pc:sldMk cId="1375069938" sldId="2147468986"/>
            <ac:spMk id="19" creationId="{908584C9-8053-BAF4-2837-F31222763A77}"/>
          </ac:spMkLst>
        </pc:spChg>
        <pc:spChg chg="mod">
          <ac:chgData name="Maureen S. Fleming" userId="55564240-5a0e-4b16-8a23-b6077a4b6df8" providerId="ADAL" clId="{A523986C-F6BF-417F-B370-76E7AC853AD0}" dt="2024-02-07T19:51:48.564" v="1404" actId="1035"/>
          <ac:spMkLst>
            <pc:docMk/>
            <pc:sldMk cId="1375069938" sldId="2147468986"/>
            <ac:spMk id="20" creationId="{8BC02F85-542C-62AC-AE9B-960CD2FC3FDC}"/>
          </ac:spMkLst>
        </pc:spChg>
        <pc:picChg chg="del">
          <ac:chgData name="Maureen S. Fleming" userId="55564240-5a0e-4b16-8a23-b6077a4b6df8" providerId="ADAL" clId="{A523986C-F6BF-417F-B370-76E7AC853AD0}" dt="2024-02-07T19:51:45.212" v="1389" actId="478"/>
          <ac:picMkLst>
            <pc:docMk/>
            <pc:sldMk cId="1375069938" sldId="2147468986"/>
            <ac:picMk id="767" creationId="{29D670B7-BDA2-A0FF-14C5-B1BDE284D8EE}"/>
          </ac:picMkLst>
        </pc:picChg>
        <pc:picChg chg="del">
          <ac:chgData name="Maureen S. Fleming" userId="55564240-5a0e-4b16-8a23-b6077a4b6df8" providerId="ADAL" clId="{A523986C-F6BF-417F-B370-76E7AC853AD0}" dt="2024-02-07T19:51:45.212" v="1389" actId="478"/>
          <ac:picMkLst>
            <pc:docMk/>
            <pc:sldMk cId="1375069938" sldId="2147468986"/>
            <ac:picMk id="2050" creationId="{5C264030-A15B-434C-73BB-4B790A5534A9}"/>
          </ac:picMkLst>
        </pc:picChg>
        <pc:picChg chg="del">
          <ac:chgData name="Maureen S. Fleming" userId="55564240-5a0e-4b16-8a23-b6077a4b6df8" providerId="ADAL" clId="{A523986C-F6BF-417F-B370-76E7AC853AD0}" dt="2024-02-07T19:51:45.212" v="1389" actId="478"/>
          <ac:picMkLst>
            <pc:docMk/>
            <pc:sldMk cId="1375069938" sldId="2147468986"/>
            <ac:picMk id="2052" creationId="{D6C8D2FA-606E-3607-3A9F-E2493DB33CF0}"/>
          </ac:picMkLst>
        </pc:picChg>
      </pc:sldChg>
      <pc:sldChg chg="delSp modSp mod">
        <pc:chgData name="Maureen S. Fleming" userId="55564240-5a0e-4b16-8a23-b6077a4b6df8" providerId="ADAL" clId="{A523986C-F6BF-417F-B370-76E7AC853AD0}" dt="2024-02-07T19:51:26.554" v="1386" actId="1076"/>
        <pc:sldMkLst>
          <pc:docMk/>
          <pc:sldMk cId="2066427225" sldId="2147468987"/>
        </pc:sldMkLst>
        <pc:spChg chg="mod">
          <ac:chgData name="Maureen S. Fleming" userId="55564240-5a0e-4b16-8a23-b6077a4b6df8" providerId="ADAL" clId="{A523986C-F6BF-417F-B370-76E7AC853AD0}" dt="2024-02-07T19:51:26.554" v="1386" actId="1076"/>
          <ac:spMkLst>
            <pc:docMk/>
            <pc:sldMk cId="2066427225" sldId="2147468987"/>
            <ac:spMk id="19" creationId="{908584C9-8053-BAF4-2837-F31222763A77}"/>
          </ac:spMkLst>
        </pc:spChg>
        <pc:spChg chg="mod">
          <ac:chgData name="Maureen S. Fleming" userId="55564240-5a0e-4b16-8a23-b6077a4b6df8" providerId="ADAL" clId="{A523986C-F6BF-417F-B370-76E7AC853AD0}" dt="2024-02-07T19:51:21.436" v="1385" actId="1035"/>
          <ac:spMkLst>
            <pc:docMk/>
            <pc:sldMk cId="2066427225" sldId="2147468987"/>
            <ac:spMk id="20" creationId="{8BC02F85-542C-62AC-AE9B-960CD2FC3FDC}"/>
          </ac:spMkLst>
        </pc:spChg>
        <pc:picChg chg="del">
          <ac:chgData name="Maureen S. Fleming" userId="55564240-5a0e-4b16-8a23-b6077a4b6df8" providerId="ADAL" clId="{A523986C-F6BF-417F-B370-76E7AC853AD0}" dt="2024-02-07T19:51:17.627" v="1367" actId="478"/>
          <ac:picMkLst>
            <pc:docMk/>
            <pc:sldMk cId="2066427225" sldId="2147468987"/>
            <ac:picMk id="767" creationId="{29D670B7-BDA2-A0FF-14C5-B1BDE284D8EE}"/>
          </ac:picMkLst>
        </pc:picChg>
        <pc:picChg chg="del">
          <ac:chgData name="Maureen S. Fleming" userId="55564240-5a0e-4b16-8a23-b6077a4b6df8" providerId="ADAL" clId="{A523986C-F6BF-417F-B370-76E7AC853AD0}" dt="2024-02-07T19:51:17.627" v="1367" actId="478"/>
          <ac:picMkLst>
            <pc:docMk/>
            <pc:sldMk cId="2066427225" sldId="2147468987"/>
            <ac:picMk id="3074" creationId="{FBFD0492-2552-4426-D15C-0B17AEBFE001}"/>
          </ac:picMkLst>
        </pc:picChg>
        <pc:picChg chg="del">
          <ac:chgData name="Maureen S. Fleming" userId="55564240-5a0e-4b16-8a23-b6077a4b6df8" providerId="ADAL" clId="{A523986C-F6BF-417F-B370-76E7AC853AD0}" dt="2024-02-07T19:51:17.627" v="1367" actId="478"/>
          <ac:picMkLst>
            <pc:docMk/>
            <pc:sldMk cId="2066427225" sldId="2147468987"/>
            <ac:picMk id="3076" creationId="{7383ECE7-0A89-2901-8A6E-22C2DD5BA55E}"/>
          </ac:picMkLst>
        </pc:picChg>
      </pc:sldChg>
      <pc:sldChg chg="delSp modSp mod">
        <pc:chgData name="Maureen S. Fleming" userId="55564240-5a0e-4b16-8a23-b6077a4b6df8" providerId="ADAL" clId="{A523986C-F6BF-417F-B370-76E7AC853AD0}" dt="2024-02-07T19:50:00.738" v="1223" actId="255"/>
        <pc:sldMkLst>
          <pc:docMk/>
          <pc:sldMk cId="2652260640" sldId="2147468988"/>
        </pc:sldMkLst>
        <pc:spChg chg="mod">
          <ac:chgData name="Maureen S. Fleming" userId="55564240-5a0e-4b16-8a23-b6077a4b6df8" providerId="ADAL" clId="{A523986C-F6BF-417F-B370-76E7AC853AD0}" dt="2024-02-07T19:50:00.738" v="1223" actId="255"/>
          <ac:spMkLst>
            <pc:docMk/>
            <pc:sldMk cId="2652260640" sldId="2147468988"/>
            <ac:spMk id="8" creationId="{ED978AFB-137C-91AC-0778-E7E2C0C60A24}"/>
          </ac:spMkLst>
        </pc:spChg>
        <pc:spChg chg="mod">
          <ac:chgData name="Maureen S. Fleming" userId="55564240-5a0e-4b16-8a23-b6077a4b6df8" providerId="ADAL" clId="{A523986C-F6BF-417F-B370-76E7AC853AD0}" dt="2024-02-07T19:49:54.350" v="1222" actId="1035"/>
          <ac:spMkLst>
            <pc:docMk/>
            <pc:sldMk cId="2652260640" sldId="2147468988"/>
            <ac:spMk id="19" creationId="{908584C9-8053-BAF4-2837-F31222763A77}"/>
          </ac:spMkLst>
        </pc:spChg>
        <pc:picChg chg="del">
          <ac:chgData name="Maureen S. Fleming" userId="55564240-5a0e-4b16-8a23-b6077a4b6df8" providerId="ADAL" clId="{A523986C-F6BF-417F-B370-76E7AC853AD0}" dt="2024-02-07T19:49:48.839" v="1200" actId="478"/>
          <ac:picMkLst>
            <pc:docMk/>
            <pc:sldMk cId="2652260640" sldId="2147468988"/>
            <ac:picMk id="12" creationId="{62316A4C-296C-9011-0647-5372C886554B}"/>
          </ac:picMkLst>
        </pc:picChg>
        <pc:picChg chg="del">
          <ac:chgData name="Maureen S. Fleming" userId="55564240-5a0e-4b16-8a23-b6077a4b6df8" providerId="ADAL" clId="{A523986C-F6BF-417F-B370-76E7AC853AD0}" dt="2024-02-07T19:49:48.839" v="1200" actId="478"/>
          <ac:picMkLst>
            <pc:docMk/>
            <pc:sldMk cId="2652260640" sldId="2147468988"/>
            <ac:picMk id="767" creationId="{29D670B7-BDA2-A0FF-14C5-B1BDE284D8EE}"/>
          </ac:picMkLst>
        </pc:picChg>
        <pc:picChg chg="del">
          <ac:chgData name="Maureen S. Fleming" userId="55564240-5a0e-4b16-8a23-b6077a4b6df8" providerId="ADAL" clId="{A523986C-F6BF-417F-B370-76E7AC853AD0}" dt="2024-02-07T19:49:48.839" v="1200" actId="478"/>
          <ac:picMkLst>
            <pc:docMk/>
            <pc:sldMk cId="2652260640" sldId="2147468988"/>
            <ac:picMk id="4098" creationId="{FB5CC357-E0C6-16B8-96ED-05495A2CC711}"/>
          </ac:picMkLst>
        </pc:picChg>
      </pc:sldChg>
      <pc:sldChg chg="delSp modSp mod">
        <pc:chgData name="Maureen S. Fleming" userId="55564240-5a0e-4b16-8a23-b6077a4b6df8" providerId="ADAL" clId="{A523986C-F6BF-417F-B370-76E7AC853AD0}" dt="2024-02-07T19:56:41.078" v="1624" actId="1076"/>
        <pc:sldMkLst>
          <pc:docMk/>
          <pc:sldMk cId="3854296703" sldId="2147468989"/>
        </pc:sldMkLst>
        <pc:spChg chg="mod">
          <ac:chgData name="Maureen S. Fleming" userId="55564240-5a0e-4b16-8a23-b6077a4b6df8" providerId="ADAL" clId="{A523986C-F6BF-417F-B370-76E7AC853AD0}" dt="2024-02-07T19:56:41.078" v="1624" actId="1076"/>
          <ac:spMkLst>
            <pc:docMk/>
            <pc:sldMk cId="3854296703" sldId="2147468989"/>
            <ac:spMk id="19" creationId="{908584C9-8053-BAF4-2837-F31222763A77}"/>
          </ac:spMkLst>
        </pc:spChg>
        <pc:picChg chg="del">
          <ac:chgData name="Maureen S. Fleming" userId="55564240-5a0e-4b16-8a23-b6077a4b6df8" providerId="ADAL" clId="{A523986C-F6BF-417F-B370-76E7AC853AD0}" dt="2024-02-07T19:56:37.812" v="1623" actId="478"/>
          <ac:picMkLst>
            <pc:docMk/>
            <pc:sldMk cId="3854296703" sldId="2147468989"/>
            <ac:picMk id="12290" creationId="{1087FCDC-9E51-A63F-6B95-1AB92B07BCA7}"/>
          </ac:picMkLst>
        </pc:picChg>
      </pc:sldChg>
      <pc:sldChg chg="delSp modSp mod">
        <pc:chgData name="Maureen S. Fleming" userId="55564240-5a0e-4b16-8a23-b6077a4b6df8" providerId="ADAL" clId="{A523986C-F6BF-417F-B370-76E7AC853AD0}" dt="2024-02-07T19:56:32.616" v="1622" actId="1076"/>
        <pc:sldMkLst>
          <pc:docMk/>
          <pc:sldMk cId="2857694139" sldId="2147468990"/>
        </pc:sldMkLst>
        <pc:spChg chg="mod">
          <ac:chgData name="Maureen S. Fleming" userId="55564240-5a0e-4b16-8a23-b6077a4b6df8" providerId="ADAL" clId="{A523986C-F6BF-417F-B370-76E7AC853AD0}" dt="2024-02-07T19:56:32.616" v="1622" actId="1076"/>
          <ac:spMkLst>
            <pc:docMk/>
            <pc:sldMk cId="2857694139" sldId="2147468990"/>
            <ac:spMk id="19" creationId="{908584C9-8053-BAF4-2837-F31222763A77}"/>
          </ac:spMkLst>
        </pc:spChg>
        <pc:spChg chg="mod">
          <ac:chgData name="Maureen S. Fleming" userId="55564240-5a0e-4b16-8a23-b6077a4b6df8" providerId="ADAL" clId="{A523986C-F6BF-417F-B370-76E7AC853AD0}" dt="2024-02-07T19:56:28.516" v="1621" actId="1035"/>
          <ac:spMkLst>
            <pc:docMk/>
            <pc:sldMk cId="2857694139" sldId="2147468990"/>
            <ac:spMk id="20" creationId="{8BC02F85-542C-62AC-AE9B-960CD2FC3FDC}"/>
          </ac:spMkLst>
        </pc:spChg>
        <pc:picChg chg="del">
          <ac:chgData name="Maureen S. Fleming" userId="55564240-5a0e-4b16-8a23-b6077a4b6df8" providerId="ADAL" clId="{A523986C-F6BF-417F-B370-76E7AC853AD0}" dt="2024-02-07T19:56:25.295" v="1607" actId="478"/>
          <ac:picMkLst>
            <pc:docMk/>
            <pc:sldMk cId="2857694139" sldId="2147468990"/>
            <ac:picMk id="767" creationId="{29D670B7-BDA2-A0FF-14C5-B1BDE284D8EE}"/>
          </ac:picMkLst>
        </pc:picChg>
        <pc:picChg chg="del">
          <ac:chgData name="Maureen S. Fleming" userId="55564240-5a0e-4b16-8a23-b6077a4b6df8" providerId="ADAL" clId="{A523986C-F6BF-417F-B370-76E7AC853AD0}" dt="2024-02-07T19:56:25.295" v="1607" actId="478"/>
          <ac:picMkLst>
            <pc:docMk/>
            <pc:sldMk cId="2857694139" sldId="2147468990"/>
            <ac:picMk id="11266" creationId="{4CEC93F1-41B6-E42C-4268-816DA143FE68}"/>
          </ac:picMkLst>
        </pc:picChg>
        <pc:picChg chg="del">
          <ac:chgData name="Maureen S. Fleming" userId="55564240-5a0e-4b16-8a23-b6077a4b6df8" providerId="ADAL" clId="{A523986C-F6BF-417F-B370-76E7AC853AD0}" dt="2024-02-07T19:56:25.295" v="1607" actId="478"/>
          <ac:picMkLst>
            <pc:docMk/>
            <pc:sldMk cId="2857694139" sldId="2147468990"/>
            <ac:picMk id="11268" creationId="{EAB0630B-DF17-47B3-837D-34593AE0287E}"/>
          </ac:picMkLst>
        </pc:picChg>
      </pc:sldChg>
      <pc:sldChg chg="delSp modSp mod">
        <pc:chgData name="Maureen S. Fleming" userId="55564240-5a0e-4b16-8a23-b6077a4b6df8" providerId="ADAL" clId="{A523986C-F6BF-417F-B370-76E7AC853AD0}" dt="2024-02-07T19:37:01.590" v="91" actId="1076"/>
        <pc:sldMkLst>
          <pc:docMk/>
          <pc:sldMk cId="3255006054" sldId="2147468991"/>
        </pc:sldMkLst>
        <pc:spChg chg="mod">
          <ac:chgData name="Maureen S. Fleming" userId="55564240-5a0e-4b16-8a23-b6077a4b6df8" providerId="ADAL" clId="{A523986C-F6BF-417F-B370-76E7AC853AD0}" dt="2024-02-07T19:37:01.590" v="91" actId="1076"/>
          <ac:spMkLst>
            <pc:docMk/>
            <pc:sldMk cId="3255006054" sldId="2147468991"/>
            <ac:spMk id="19" creationId="{908584C9-8053-BAF4-2837-F31222763A77}"/>
          </ac:spMkLst>
        </pc:spChg>
        <pc:spChg chg="mod">
          <ac:chgData name="Maureen S. Fleming" userId="55564240-5a0e-4b16-8a23-b6077a4b6df8" providerId="ADAL" clId="{A523986C-F6BF-417F-B370-76E7AC853AD0}" dt="2024-02-07T19:36:58.095" v="90" actId="1076"/>
          <ac:spMkLst>
            <pc:docMk/>
            <pc:sldMk cId="3255006054" sldId="2147468991"/>
            <ac:spMk id="20" creationId="{8BC02F85-542C-62AC-AE9B-960CD2FC3FDC}"/>
          </ac:spMkLst>
        </pc:spChg>
        <pc:picChg chg="del">
          <ac:chgData name="Maureen S. Fleming" userId="55564240-5a0e-4b16-8a23-b6077a4b6df8" providerId="ADAL" clId="{A523986C-F6BF-417F-B370-76E7AC853AD0}" dt="2024-02-07T19:36:54.441" v="89" actId="478"/>
          <ac:picMkLst>
            <pc:docMk/>
            <pc:sldMk cId="3255006054" sldId="2147468991"/>
            <ac:picMk id="767" creationId="{29D670B7-BDA2-A0FF-14C5-B1BDE284D8EE}"/>
          </ac:picMkLst>
        </pc:picChg>
        <pc:picChg chg="del">
          <ac:chgData name="Maureen S. Fleming" userId="55564240-5a0e-4b16-8a23-b6077a4b6df8" providerId="ADAL" clId="{A523986C-F6BF-417F-B370-76E7AC853AD0}" dt="2024-02-07T19:36:54.441" v="89" actId="478"/>
          <ac:picMkLst>
            <pc:docMk/>
            <pc:sldMk cId="3255006054" sldId="2147468991"/>
            <ac:picMk id="10242" creationId="{F9B13C66-6B8E-8C01-497C-DA9D8A9847FA}"/>
          </ac:picMkLst>
        </pc:picChg>
        <pc:picChg chg="del">
          <ac:chgData name="Maureen S. Fleming" userId="55564240-5a0e-4b16-8a23-b6077a4b6df8" providerId="ADAL" clId="{A523986C-F6BF-417F-B370-76E7AC853AD0}" dt="2024-02-07T19:36:54.441" v="89" actId="478"/>
          <ac:picMkLst>
            <pc:docMk/>
            <pc:sldMk cId="3255006054" sldId="2147468991"/>
            <ac:picMk id="10244" creationId="{B5105B1A-B521-8AF9-EA99-90C1CDCC8F40}"/>
          </ac:picMkLst>
        </pc:picChg>
      </pc:sldChg>
      <pc:sldChg chg="delSp modSp mod">
        <pc:chgData name="Maureen S. Fleming" userId="55564240-5a0e-4b16-8a23-b6077a4b6df8" providerId="ADAL" clId="{A523986C-F6BF-417F-B370-76E7AC853AD0}" dt="2024-02-07T19:37:11.595" v="94" actId="1076"/>
        <pc:sldMkLst>
          <pc:docMk/>
          <pc:sldMk cId="752426780" sldId="2147468992"/>
        </pc:sldMkLst>
        <pc:spChg chg="mod">
          <ac:chgData name="Maureen S. Fleming" userId="55564240-5a0e-4b16-8a23-b6077a4b6df8" providerId="ADAL" clId="{A523986C-F6BF-417F-B370-76E7AC853AD0}" dt="2024-02-07T19:37:11.595" v="94" actId="1076"/>
          <ac:spMkLst>
            <pc:docMk/>
            <pc:sldMk cId="752426780" sldId="2147468992"/>
            <ac:spMk id="19" creationId="{908584C9-8053-BAF4-2837-F31222763A77}"/>
          </ac:spMkLst>
        </pc:spChg>
        <pc:spChg chg="mod">
          <ac:chgData name="Maureen S. Fleming" userId="55564240-5a0e-4b16-8a23-b6077a4b6df8" providerId="ADAL" clId="{A523986C-F6BF-417F-B370-76E7AC853AD0}" dt="2024-02-07T19:37:09.067" v="93" actId="1076"/>
          <ac:spMkLst>
            <pc:docMk/>
            <pc:sldMk cId="752426780" sldId="2147468992"/>
            <ac:spMk id="20" creationId="{8BC02F85-542C-62AC-AE9B-960CD2FC3FDC}"/>
          </ac:spMkLst>
        </pc:spChg>
        <pc:picChg chg="del">
          <ac:chgData name="Maureen S. Fleming" userId="55564240-5a0e-4b16-8a23-b6077a4b6df8" providerId="ADAL" clId="{A523986C-F6BF-417F-B370-76E7AC853AD0}" dt="2024-02-07T19:37:06.145" v="92" actId="478"/>
          <ac:picMkLst>
            <pc:docMk/>
            <pc:sldMk cId="752426780" sldId="2147468992"/>
            <ac:picMk id="767" creationId="{29D670B7-BDA2-A0FF-14C5-B1BDE284D8EE}"/>
          </ac:picMkLst>
        </pc:picChg>
        <pc:picChg chg="del">
          <ac:chgData name="Maureen S. Fleming" userId="55564240-5a0e-4b16-8a23-b6077a4b6df8" providerId="ADAL" clId="{A523986C-F6BF-417F-B370-76E7AC853AD0}" dt="2024-02-07T19:37:06.145" v="92" actId="478"/>
          <ac:picMkLst>
            <pc:docMk/>
            <pc:sldMk cId="752426780" sldId="2147468992"/>
            <ac:picMk id="9218" creationId="{CA2F929E-857D-8238-3DBA-D7BDB8597568}"/>
          </ac:picMkLst>
        </pc:picChg>
        <pc:picChg chg="del">
          <ac:chgData name="Maureen S. Fleming" userId="55564240-5a0e-4b16-8a23-b6077a4b6df8" providerId="ADAL" clId="{A523986C-F6BF-417F-B370-76E7AC853AD0}" dt="2024-02-07T19:37:06.145" v="92" actId="478"/>
          <ac:picMkLst>
            <pc:docMk/>
            <pc:sldMk cId="752426780" sldId="2147468992"/>
            <ac:picMk id="9220" creationId="{9E1E6F0D-573B-7761-8E4E-F4433EDD5ECA}"/>
          </ac:picMkLst>
        </pc:picChg>
      </pc:sldChg>
      <pc:sldChg chg="delSp modSp mod">
        <pc:chgData name="Maureen S. Fleming" userId="55564240-5a0e-4b16-8a23-b6077a4b6df8" providerId="ADAL" clId="{A523986C-F6BF-417F-B370-76E7AC853AD0}" dt="2024-02-07T19:51:40.634" v="1388" actId="1076"/>
        <pc:sldMkLst>
          <pc:docMk/>
          <pc:sldMk cId="4134371134" sldId="2147468993"/>
        </pc:sldMkLst>
        <pc:spChg chg="mod">
          <ac:chgData name="Maureen S. Fleming" userId="55564240-5a0e-4b16-8a23-b6077a4b6df8" providerId="ADAL" clId="{A523986C-F6BF-417F-B370-76E7AC853AD0}" dt="2024-02-07T19:51:40.634" v="1388" actId="1076"/>
          <ac:spMkLst>
            <pc:docMk/>
            <pc:sldMk cId="4134371134" sldId="2147468993"/>
            <ac:spMk id="19" creationId="{908584C9-8053-BAF4-2837-F31222763A77}"/>
          </ac:spMkLst>
        </pc:spChg>
        <pc:picChg chg="del">
          <ac:chgData name="Maureen S. Fleming" userId="55564240-5a0e-4b16-8a23-b6077a4b6df8" providerId="ADAL" clId="{A523986C-F6BF-417F-B370-76E7AC853AD0}" dt="2024-02-07T19:51:35.870" v="1387" actId="478"/>
          <ac:picMkLst>
            <pc:docMk/>
            <pc:sldMk cId="4134371134" sldId="2147468993"/>
            <ac:picMk id="8194" creationId="{518EE5FB-4050-6418-55BD-8603A547AA53}"/>
          </ac:picMkLst>
        </pc:picChg>
      </pc:sldChg>
      <pc:sldChg chg="delSp modSp mod">
        <pc:chgData name="Maureen S. Fleming" userId="55564240-5a0e-4b16-8a23-b6077a4b6df8" providerId="ADAL" clId="{A523986C-F6BF-417F-B370-76E7AC853AD0}" dt="2024-02-07T19:56:13.478" v="1606" actId="1076"/>
        <pc:sldMkLst>
          <pc:docMk/>
          <pc:sldMk cId="1153717832" sldId="2147468994"/>
        </pc:sldMkLst>
        <pc:spChg chg="mod">
          <ac:chgData name="Maureen S. Fleming" userId="55564240-5a0e-4b16-8a23-b6077a4b6df8" providerId="ADAL" clId="{A523986C-F6BF-417F-B370-76E7AC853AD0}" dt="2024-02-07T19:56:13.478" v="1606" actId="1076"/>
          <ac:spMkLst>
            <pc:docMk/>
            <pc:sldMk cId="1153717832" sldId="2147468994"/>
            <ac:spMk id="15" creationId="{E8A83B76-EA8D-C113-029A-573566691D59}"/>
          </ac:spMkLst>
        </pc:spChg>
        <pc:spChg chg="mod">
          <ac:chgData name="Maureen S. Fleming" userId="55564240-5a0e-4b16-8a23-b6077a4b6df8" providerId="ADAL" clId="{A523986C-F6BF-417F-B370-76E7AC853AD0}" dt="2024-02-07T19:56:05.228" v="1604" actId="1076"/>
          <ac:spMkLst>
            <pc:docMk/>
            <pc:sldMk cId="1153717832" sldId="2147468994"/>
            <ac:spMk id="19" creationId="{908584C9-8053-BAF4-2837-F31222763A77}"/>
          </ac:spMkLst>
        </pc:spChg>
        <pc:spChg chg="mod">
          <ac:chgData name="Maureen S. Fleming" userId="55564240-5a0e-4b16-8a23-b6077a4b6df8" providerId="ADAL" clId="{A523986C-F6BF-417F-B370-76E7AC853AD0}" dt="2024-02-07T19:56:08.878" v="1605" actId="1076"/>
          <ac:spMkLst>
            <pc:docMk/>
            <pc:sldMk cId="1153717832" sldId="2147468994"/>
            <ac:spMk id="20" creationId="{8BC02F85-542C-62AC-AE9B-960CD2FC3FDC}"/>
          </ac:spMkLst>
        </pc:spChg>
        <pc:picChg chg="del">
          <ac:chgData name="Maureen S. Fleming" userId="55564240-5a0e-4b16-8a23-b6077a4b6df8" providerId="ADAL" clId="{A523986C-F6BF-417F-B370-76E7AC853AD0}" dt="2024-02-07T19:55:48.262" v="1585" actId="478"/>
          <ac:picMkLst>
            <pc:docMk/>
            <pc:sldMk cId="1153717832" sldId="2147468994"/>
            <ac:picMk id="12" creationId="{2148F2A1-6DFF-BBCB-90D3-3EB9969830FC}"/>
          </ac:picMkLst>
        </pc:picChg>
        <pc:picChg chg="del">
          <ac:chgData name="Maureen S. Fleming" userId="55564240-5a0e-4b16-8a23-b6077a4b6df8" providerId="ADAL" clId="{A523986C-F6BF-417F-B370-76E7AC853AD0}" dt="2024-02-07T19:55:48.262" v="1585" actId="478"/>
          <ac:picMkLst>
            <pc:docMk/>
            <pc:sldMk cId="1153717832" sldId="2147468994"/>
            <ac:picMk id="767" creationId="{29D670B7-BDA2-A0FF-14C5-B1BDE284D8EE}"/>
          </ac:picMkLst>
        </pc:picChg>
        <pc:picChg chg="del">
          <ac:chgData name="Maureen S. Fleming" userId="55564240-5a0e-4b16-8a23-b6077a4b6df8" providerId="ADAL" clId="{A523986C-F6BF-417F-B370-76E7AC853AD0}" dt="2024-02-07T19:55:48.262" v="1585" actId="478"/>
          <ac:picMkLst>
            <pc:docMk/>
            <pc:sldMk cId="1153717832" sldId="2147468994"/>
            <ac:picMk id="7170" creationId="{1DAB76C7-8EDF-9CFA-B186-25B5A0BE7E7E}"/>
          </ac:picMkLst>
        </pc:picChg>
      </pc:sldChg>
      <pc:sldChg chg="delSp modSp mod">
        <pc:chgData name="Maureen S. Fleming" userId="55564240-5a0e-4b16-8a23-b6077a4b6df8" providerId="ADAL" clId="{A523986C-F6BF-417F-B370-76E7AC853AD0}" dt="2024-02-07T19:42:27.886" v="480" actId="1076"/>
        <pc:sldMkLst>
          <pc:docMk/>
          <pc:sldMk cId="3175367882" sldId="2147468995"/>
        </pc:sldMkLst>
        <pc:spChg chg="mod">
          <ac:chgData name="Maureen S. Fleming" userId="55564240-5a0e-4b16-8a23-b6077a4b6df8" providerId="ADAL" clId="{A523986C-F6BF-417F-B370-76E7AC853AD0}" dt="2024-02-07T19:42:27.886" v="480" actId="1076"/>
          <ac:spMkLst>
            <pc:docMk/>
            <pc:sldMk cId="3175367882" sldId="2147468995"/>
            <ac:spMk id="19" creationId="{908584C9-8053-BAF4-2837-F31222763A77}"/>
          </ac:spMkLst>
        </pc:spChg>
        <pc:spChg chg="mod">
          <ac:chgData name="Maureen S. Fleming" userId="55564240-5a0e-4b16-8a23-b6077a4b6df8" providerId="ADAL" clId="{A523986C-F6BF-417F-B370-76E7AC853AD0}" dt="2024-02-07T19:42:25.528" v="479" actId="1076"/>
          <ac:spMkLst>
            <pc:docMk/>
            <pc:sldMk cId="3175367882" sldId="2147468995"/>
            <ac:spMk id="20" creationId="{8BC02F85-542C-62AC-AE9B-960CD2FC3FDC}"/>
          </ac:spMkLst>
        </pc:spChg>
        <pc:picChg chg="del">
          <ac:chgData name="Maureen S. Fleming" userId="55564240-5a0e-4b16-8a23-b6077a4b6df8" providerId="ADAL" clId="{A523986C-F6BF-417F-B370-76E7AC853AD0}" dt="2024-02-07T19:42:00.612" v="462" actId="478"/>
          <ac:picMkLst>
            <pc:docMk/>
            <pc:sldMk cId="3175367882" sldId="2147468995"/>
            <ac:picMk id="12" creationId="{4DA65A0B-54D7-908A-5E0B-2DB576925022}"/>
          </ac:picMkLst>
        </pc:picChg>
        <pc:picChg chg="del">
          <ac:chgData name="Maureen S. Fleming" userId="55564240-5a0e-4b16-8a23-b6077a4b6df8" providerId="ADAL" clId="{A523986C-F6BF-417F-B370-76E7AC853AD0}" dt="2024-02-07T19:42:00.612" v="462" actId="478"/>
          <ac:picMkLst>
            <pc:docMk/>
            <pc:sldMk cId="3175367882" sldId="2147468995"/>
            <ac:picMk id="767" creationId="{29D670B7-BDA2-A0FF-14C5-B1BDE284D8EE}"/>
          </ac:picMkLst>
        </pc:picChg>
        <pc:picChg chg="del">
          <ac:chgData name="Maureen S. Fleming" userId="55564240-5a0e-4b16-8a23-b6077a4b6df8" providerId="ADAL" clId="{A523986C-F6BF-417F-B370-76E7AC853AD0}" dt="2024-02-07T19:42:00.612" v="462" actId="478"/>
          <ac:picMkLst>
            <pc:docMk/>
            <pc:sldMk cId="3175367882" sldId="2147468995"/>
            <ac:picMk id="6146" creationId="{F3D1D66C-D7DA-06D3-2467-D4AD4CEF54AD}"/>
          </ac:picMkLst>
        </pc:picChg>
        <pc:picChg chg="del">
          <ac:chgData name="Maureen S. Fleming" userId="55564240-5a0e-4b16-8a23-b6077a4b6df8" providerId="ADAL" clId="{A523986C-F6BF-417F-B370-76E7AC853AD0}" dt="2024-02-07T19:42:00.612" v="462" actId="478"/>
          <ac:picMkLst>
            <pc:docMk/>
            <pc:sldMk cId="3175367882" sldId="2147468995"/>
            <ac:picMk id="6148" creationId="{70181D42-5608-0351-F8F5-69B745B5E5DD}"/>
          </ac:picMkLst>
        </pc:picChg>
        <pc:picChg chg="del">
          <ac:chgData name="Maureen S. Fleming" userId="55564240-5a0e-4b16-8a23-b6077a4b6df8" providerId="ADAL" clId="{A523986C-F6BF-417F-B370-76E7AC853AD0}" dt="2024-02-07T19:42:00.612" v="462" actId="478"/>
          <ac:picMkLst>
            <pc:docMk/>
            <pc:sldMk cId="3175367882" sldId="2147468995"/>
            <ac:picMk id="6150" creationId="{B4ED68CA-0883-0AE6-2412-55A5E9D573FA}"/>
          </ac:picMkLst>
        </pc:picChg>
      </pc:sldChg>
      <pc:sldChg chg="delSp modSp mod">
        <pc:chgData name="Maureen S. Fleming" userId="55564240-5a0e-4b16-8a23-b6077a4b6df8" providerId="ADAL" clId="{A523986C-F6BF-417F-B370-76E7AC853AD0}" dt="2024-02-07T19:40:56.545" v="418" actId="1035"/>
        <pc:sldMkLst>
          <pc:docMk/>
          <pc:sldMk cId="769725692" sldId="2147468996"/>
        </pc:sldMkLst>
        <pc:spChg chg="mod">
          <ac:chgData name="Maureen S. Fleming" userId="55564240-5a0e-4b16-8a23-b6077a4b6df8" providerId="ADAL" clId="{A523986C-F6BF-417F-B370-76E7AC853AD0}" dt="2024-02-07T19:40:56.545" v="418" actId="1035"/>
          <ac:spMkLst>
            <pc:docMk/>
            <pc:sldMk cId="769725692" sldId="2147468996"/>
            <ac:spMk id="19" creationId="{908584C9-8053-BAF4-2837-F31222763A77}"/>
          </ac:spMkLst>
        </pc:spChg>
        <pc:spChg chg="mod">
          <ac:chgData name="Maureen S. Fleming" userId="55564240-5a0e-4b16-8a23-b6077a4b6df8" providerId="ADAL" clId="{A523986C-F6BF-417F-B370-76E7AC853AD0}" dt="2024-02-07T19:40:56.545" v="418" actId="1035"/>
          <ac:spMkLst>
            <pc:docMk/>
            <pc:sldMk cId="769725692" sldId="2147468996"/>
            <ac:spMk id="20" creationId="{8BC02F85-542C-62AC-AE9B-960CD2FC3FDC}"/>
          </ac:spMkLst>
        </pc:spChg>
        <pc:picChg chg="del">
          <ac:chgData name="Maureen S. Fleming" userId="55564240-5a0e-4b16-8a23-b6077a4b6df8" providerId="ADAL" clId="{A523986C-F6BF-417F-B370-76E7AC853AD0}" dt="2024-02-07T19:40:50.361" v="397" actId="478"/>
          <ac:picMkLst>
            <pc:docMk/>
            <pc:sldMk cId="769725692" sldId="2147468996"/>
            <ac:picMk id="12" creationId="{0D06FF75-3E4E-3AD8-E2A3-04323BD134E2}"/>
          </ac:picMkLst>
        </pc:picChg>
        <pc:picChg chg="del">
          <ac:chgData name="Maureen S. Fleming" userId="55564240-5a0e-4b16-8a23-b6077a4b6df8" providerId="ADAL" clId="{A523986C-F6BF-417F-B370-76E7AC853AD0}" dt="2024-02-07T19:40:50.361" v="397" actId="478"/>
          <ac:picMkLst>
            <pc:docMk/>
            <pc:sldMk cId="769725692" sldId="2147468996"/>
            <ac:picMk id="767" creationId="{29D670B7-BDA2-A0FF-14C5-B1BDE284D8EE}"/>
          </ac:picMkLst>
        </pc:picChg>
        <pc:picChg chg="del">
          <ac:chgData name="Maureen S. Fleming" userId="55564240-5a0e-4b16-8a23-b6077a4b6df8" providerId="ADAL" clId="{A523986C-F6BF-417F-B370-76E7AC853AD0}" dt="2024-02-07T19:40:50.361" v="397" actId="478"/>
          <ac:picMkLst>
            <pc:docMk/>
            <pc:sldMk cId="769725692" sldId="2147468996"/>
            <ac:picMk id="5122" creationId="{FB0ADACE-765C-0BE0-0E9A-5E2BABE781EE}"/>
          </ac:picMkLst>
        </pc:picChg>
      </pc:sldChg>
      <pc:sldChg chg="delSp modSp mod">
        <pc:chgData name="Maureen S. Fleming" userId="55564240-5a0e-4b16-8a23-b6077a4b6df8" providerId="ADAL" clId="{A523986C-F6BF-417F-B370-76E7AC853AD0}" dt="2024-02-07T19:50:16.712" v="1250" actId="1035"/>
        <pc:sldMkLst>
          <pc:docMk/>
          <pc:sldMk cId="950228836" sldId="2147468997"/>
        </pc:sldMkLst>
        <pc:spChg chg="mod">
          <ac:chgData name="Maureen S. Fleming" userId="55564240-5a0e-4b16-8a23-b6077a4b6df8" providerId="ADAL" clId="{A523986C-F6BF-417F-B370-76E7AC853AD0}" dt="2024-02-07T19:50:16.712" v="1250" actId="1035"/>
          <ac:spMkLst>
            <pc:docMk/>
            <pc:sldMk cId="950228836" sldId="2147468997"/>
            <ac:spMk id="19" creationId="{908584C9-8053-BAF4-2837-F31222763A77}"/>
          </ac:spMkLst>
        </pc:spChg>
        <pc:spChg chg="mod">
          <ac:chgData name="Maureen S. Fleming" userId="55564240-5a0e-4b16-8a23-b6077a4b6df8" providerId="ADAL" clId="{A523986C-F6BF-417F-B370-76E7AC853AD0}" dt="2024-02-07T19:50:16.712" v="1250" actId="1035"/>
          <ac:spMkLst>
            <pc:docMk/>
            <pc:sldMk cId="950228836" sldId="2147468997"/>
            <ac:spMk id="20" creationId="{8BC02F85-542C-62AC-AE9B-960CD2FC3FDC}"/>
          </ac:spMkLst>
        </pc:spChg>
        <pc:picChg chg="del">
          <ac:chgData name="Maureen S. Fleming" userId="55564240-5a0e-4b16-8a23-b6077a4b6df8" providerId="ADAL" clId="{A523986C-F6BF-417F-B370-76E7AC853AD0}" dt="2024-02-07T19:50:07.028" v="1224" actId="478"/>
          <ac:picMkLst>
            <pc:docMk/>
            <pc:sldMk cId="950228836" sldId="2147468997"/>
            <ac:picMk id="13" creationId="{9956F419-8335-E65A-CA93-ADBD00F001C4}"/>
          </ac:picMkLst>
        </pc:picChg>
        <pc:picChg chg="del">
          <ac:chgData name="Maureen S. Fleming" userId="55564240-5a0e-4b16-8a23-b6077a4b6df8" providerId="ADAL" clId="{A523986C-F6BF-417F-B370-76E7AC853AD0}" dt="2024-02-07T19:50:07.028" v="1224" actId="478"/>
          <ac:picMkLst>
            <pc:docMk/>
            <pc:sldMk cId="950228836" sldId="2147468997"/>
            <ac:picMk id="767" creationId="{29D670B7-BDA2-A0FF-14C5-B1BDE284D8EE}"/>
          </ac:picMkLst>
        </pc:picChg>
        <pc:picChg chg="del">
          <ac:chgData name="Maureen S. Fleming" userId="55564240-5a0e-4b16-8a23-b6077a4b6df8" providerId="ADAL" clId="{A523986C-F6BF-417F-B370-76E7AC853AD0}" dt="2024-02-07T19:50:07.028" v="1224" actId="478"/>
          <ac:picMkLst>
            <pc:docMk/>
            <pc:sldMk cId="950228836" sldId="2147468997"/>
            <ac:picMk id="1026" creationId="{D09B5231-76BF-FE2F-05BB-5CA197EBF722}"/>
          </ac:picMkLst>
        </pc:picChg>
      </pc:sldChg>
      <pc:sldChg chg="delSp modSp mod modCm">
        <pc:chgData name="Maureen S. Fleming" userId="55564240-5a0e-4b16-8a23-b6077a4b6df8" providerId="ADAL" clId="{A523986C-F6BF-417F-B370-76E7AC853AD0}" dt="2024-02-07T19:42:39.445" v="504" actId="1035"/>
        <pc:sldMkLst>
          <pc:docMk/>
          <pc:sldMk cId="3191878711" sldId="2147468998"/>
        </pc:sldMkLst>
        <pc:spChg chg="mod">
          <ac:chgData name="Maureen S. Fleming" userId="55564240-5a0e-4b16-8a23-b6077a4b6df8" providerId="ADAL" clId="{A523986C-F6BF-417F-B370-76E7AC853AD0}" dt="2024-02-07T19:42:39.445" v="504" actId="1035"/>
          <ac:spMkLst>
            <pc:docMk/>
            <pc:sldMk cId="3191878711" sldId="2147468998"/>
            <ac:spMk id="19" creationId="{908584C9-8053-BAF4-2837-F31222763A77}"/>
          </ac:spMkLst>
        </pc:spChg>
        <pc:spChg chg="mod">
          <ac:chgData name="Maureen S. Fleming" userId="55564240-5a0e-4b16-8a23-b6077a4b6df8" providerId="ADAL" clId="{A523986C-F6BF-417F-B370-76E7AC853AD0}" dt="2024-02-07T19:42:39.445" v="504" actId="1035"/>
          <ac:spMkLst>
            <pc:docMk/>
            <pc:sldMk cId="3191878711" sldId="2147468998"/>
            <ac:spMk id="20" creationId="{8BC02F85-542C-62AC-AE9B-960CD2FC3FDC}"/>
          </ac:spMkLst>
        </pc:spChg>
        <pc:picChg chg="del">
          <ac:chgData name="Maureen S. Fleming" userId="55564240-5a0e-4b16-8a23-b6077a4b6df8" providerId="ADAL" clId="{A523986C-F6BF-417F-B370-76E7AC853AD0}" dt="2024-02-07T19:42:34.395" v="481" actId="478"/>
          <ac:picMkLst>
            <pc:docMk/>
            <pc:sldMk cId="3191878711" sldId="2147468998"/>
            <ac:picMk id="767" creationId="{29D670B7-BDA2-A0FF-14C5-B1BDE284D8EE}"/>
          </ac:picMkLst>
        </pc:picChg>
        <pc:picChg chg="del">
          <ac:chgData name="Maureen S. Fleming" userId="55564240-5a0e-4b16-8a23-b6077a4b6df8" providerId="ADAL" clId="{A523986C-F6BF-417F-B370-76E7AC853AD0}" dt="2024-02-07T19:42:34.395" v="481" actId="478"/>
          <ac:picMkLst>
            <pc:docMk/>
            <pc:sldMk cId="3191878711" sldId="2147468998"/>
            <ac:picMk id="2050" creationId="{FD80AF8A-75FD-D4BB-3D1E-9C29F52AD7FC}"/>
          </ac:picMkLst>
        </pc:picChg>
        <pc:picChg chg="del">
          <ac:chgData name="Maureen S. Fleming" userId="55564240-5a0e-4b16-8a23-b6077a4b6df8" providerId="ADAL" clId="{A523986C-F6BF-417F-B370-76E7AC853AD0}" dt="2024-02-07T19:42:34.395" v="481" actId="478"/>
          <ac:picMkLst>
            <pc:docMk/>
            <pc:sldMk cId="3191878711" sldId="2147468998"/>
            <ac:picMk id="2052" creationId="{91B2A236-971E-9B13-09F9-C2942043F6DB}"/>
          </ac:picMkLst>
        </pc:picChg>
        <pc:extLst>
          <p:ext xmlns:p="http://schemas.openxmlformats.org/presentationml/2006/main" uri="{D6D511B9-2390-475A-947B-AFAB55BFBCF1}">
            <pc226:cmChg xmlns:pc226="http://schemas.microsoft.com/office/powerpoint/2022/06/main/command" chg="mod">
              <pc226:chgData name="Maureen S. Fleming" userId="55564240-5a0e-4b16-8a23-b6077a4b6df8" providerId="ADAL" clId="{A523986C-F6BF-417F-B370-76E7AC853AD0}" dt="2024-02-07T19:42:34.411" v="482" actId="2056"/>
              <pc2:cmMkLst xmlns:pc2="http://schemas.microsoft.com/office/powerpoint/2019/9/main/command">
                <pc:docMk/>
                <pc:sldMk cId="3191878711" sldId="2147468998"/>
                <pc2:cmMk id="{75435C4D-D4BA-4C20-80AB-D1C6369D8B74}"/>
              </pc2:cmMkLst>
            </pc226:cmChg>
          </p:ext>
        </pc:extLst>
      </pc:sldChg>
      <pc:sldChg chg="addSp delSp modSp mod modCm">
        <pc:chgData name="Maureen S. Fleming" userId="55564240-5a0e-4b16-8a23-b6077a4b6df8" providerId="ADAL" clId="{A523986C-F6BF-417F-B370-76E7AC853AD0}" dt="2024-02-08T16:20:04.657" v="1636" actId="1076"/>
        <pc:sldMkLst>
          <pc:docMk/>
          <pc:sldMk cId="2121165865" sldId="2147468999"/>
        </pc:sldMkLst>
        <pc:spChg chg="add del mod">
          <ac:chgData name="Maureen S. Fleming" userId="55564240-5a0e-4b16-8a23-b6077a4b6df8" providerId="ADAL" clId="{A523986C-F6BF-417F-B370-76E7AC853AD0}" dt="2024-02-08T16:20:04.657" v="1636" actId="1076"/>
          <ac:spMkLst>
            <pc:docMk/>
            <pc:sldMk cId="2121165865" sldId="2147468999"/>
            <ac:spMk id="3" creationId="{117D4E76-B3A1-717B-5C07-4BEB03A2C018}"/>
          </ac:spMkLst>
        </pc:spChg>
        <pc:extLst>
          <p:ext xmlns:p="http://schemas.openxmlformats.org/presentationml/2006/main" uri="{D6D511B9-2390-475A-947B-AFAB55BFBCF1}">
            <pc226:cmChg xmlns:pc226="http://schemas.microsoft.com/office/powerpoint/2022/06/main/command" chg="mod">
              <pc226:chgData name="Maureen S. Fleming" userId="55564240-5a0e-4b16-8a23-b6077a4b6df8" providerId="ADAL" clId="{A523986C-F6BF-417F-B370-76E7AC853AD0}" dt="2024-02-08T16:16:19.938" v="1633"/>
              <pc2:cmMkLst xmlns:pc2="http://schemas.microsoft.com/office/powerpoint/2019/9/main/command">
                <pc:docMk/>
                <pc:sldMk cId="2121165865" sldId="2147468999"/>
                <pc2:cmMk id="{F4A4A31F-A46E-0742-9FF3-536C822BC07D}"/>
              </pc2:cmMkLst>
              <pc226:cmRplyChg chg="add">
                <pc226:chgData name="Maureen S. Fleming" userId="55564240-5a0e-4b16-8a23-b6077a4b6df8" providerId="ADAL" clId="{A523986C-F6BF-417F-B370-76E7AC853AD0}" dt="2024-02-08T16:16:19.938" v="1633"/>
                <pc2:cmRplyMkLst xmlns:pc2="http://schemas.microsoft.com/office/powerpoint/2019/9/main/command">
                  <pc:docMk/>
                  <pc:sldMk cId="2121165865" sldId="2147468999"/>
                  <pc2:cmMk id="{F4A4A31F-A46E-0742-9FF3-536C822BC07D}"/>
                  <pc2:cmRplyMk id="{36CB8948-4024-48A5-ABF6-8BEBF8DC13C5}"/>
                </pc2:cmRplyMkLst>
              </pc226:cmRplyChg>
            </pc226:cmChg>
          </p:ext>
        </pc:extLst>
      </pc:sldChg>
    </pc:docChg>
  </pc:docChgLst>
  <pc:docChgLst>
    <pc:chgData name="Rita L. Sallam" userId="27fa2d08-926d-4e54-a61c-5bf959504366" providerId="ADAL" clId="{7D399629-8B00-462A-8C41-1FD7AF08AD9F}"/>
    <pc:docChg chg="">
      <pc:chgData name="Rita L. Sallam" userId="27fa2d08-926d-4e54-a61c-5bf959504366" providerId="ADAL" clId="{7D399629-8B00-462A-8C41-1FD7AF08AD9F}" dt="2024-02-07T19:43:29.360" v="0" actId="2056"/>
      <pc:docMkLst>
        <pc:docMk/>
      </pc:docMkLst>
      <pc:sldChg chg="modCm">
        <pc:chgData name="Rita L. Sallam" userId="27fa2d08-926d-4e54-a61c-5bf959504366" providerId="ADAL" clId="{7D399629-8B00-462A-8C41-1FD7AF08AD9F}" dt="2024-02-07T19:43:29.360" v="0" actId="2056"/>
        <pc:sldMkLst>
          <pc:docMk/>
          <pc:sldMk cId="3191878711" sldId="2147468998"/>
        </pc:sldMkLst>
        <pc:extLst>
          <p:ext xmlns:p="http://schemas.openxmlformats.org/presentationml/2006/main" uri="{D6D511B9-2390-475A-947B-AFAB55BFBCF1}">
            <pc226:cmChg xmlns:pc226="http://schemas.microsoft.com/office/powerpoint/2022/06/main/command" chg="mod">
              <pc226:chgData name="Rita L. Sallam" userId="27fa2d08-926d-4e54-a61c-5bf959504366" providerId="ADAL" clId="{7D399629-8B00-462A-8C41-1FD7AF08AD9F}" dt="2024-02-07T19:43:29.360" v="0" actId="2056"/>
              <pc2:cmMkLst xmlns:pc2="http://schemas.microsoft.com/office/powerpoint/2019/9/main/command">
                <pc:docMk/>
                <pc:sldMk cId="3191878711" sldId="2147468998"/>
                <pc2:cmMk id="{75435C4D-D4BA-4C20-80AB-D1C6369D8B74}"/>
              </pc2:cmMkLst>
            </pc226:cmChg>
          </p:ext>
        </pc:ext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E26B98C-713B-4B72-A4D4-019F5DA80C9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C270BE1-CA36-4E08-BA4E-AC3C07DBA58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662039D-F6B0-4B3D-87CD-5EA4BC8D3B27}" type="datetimeFigureOut">
              <a:rPr lang="en-US" smtClean="0"/>
              <a:t>2/13/24</a:t>
            </a:fld>
            <a:endParaRPr lang="en-US"/>
          </a:p>
        </p:txBody>
      </p:sp>
      <p:sp>
        <p:nvSpPr>
          <p:cNvPr id="4" name="Footer Placeholder 3">
            <a:extLst>
              <a:ext uri="{FF2B5EF4-FFF2-40B4-BE49-F238E27FC236}">
                <a16:creationId xmlns:a16="http://schemas.microsoft.com/office/drawing/2014/main" id="{87346B8E-2606-4769-BF30-459644BE4BF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BEC229D-172E-43E4-8A96-CF0E11D3DD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D3B6B68-6C65-4B67-BFEC-C9B9E8911328}" type="slidenum">
              <a:rPr lang="en-US" smtClean="0"/>
              <a:t>‹#›</a:t>
            </a:fld>
            <a:endParaRPr lang="en-US"/>
          </a:p>
        </p:txBody>
      </p:sp>
    </p:spTree>
    <p:extLst>
      <p:ext uri="{BB962C8B-B14F-4D97-AF65-F5344CB8AC3E}">
        <p14:creationId xmlns:p14="http://schemas.microsoft.com/office/powerpoint/2010/main" val="17308988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Notes Placeholder 4"/>
          <p:cNvSpPr>
            <a:spLocks noGrp="1"/>
          </p:cNvSpPr>
          <p:nvPr>
            <p:ph type="body" sz="quarter" idx="3"/>
          </p:nvPr>
        </p:nvSpPr>
        <p:spPr>
          <a:xfrm>
            <a:off x="246888" y="3134806"/>
            <a:ext cx="6373368" cy="5698298"/>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Image Placeholder 7">
            <a:extLst>
              <a:ext uri="{FF2B5EF4-FFF2-40B4-BE49-F238E27FC236}">
                <a16:creationId xmlns:a16="http://schemas.microsoft.com/office/drawing/2014/main" id="{EB9A72EB-8446-4162-8400-EAE51CA4B002}"/>
              </a:ext>
            </a:extLst>
          </p:cNvPr>
          <p:cNvSpPr>
            <a:spLocks noGrp="1" noRot="1" noChangeAspect="1"/>
          </p:cNvSpPr>
          <p:nvPr>
            <p:ph type="sldImg" idx="2"/>
          </p:nvPr>
        </p:nvSpPr>
        <p:spPr>
          <a:xfrm>
            <a:off x="1333500" y="658368"/>
            <a:ext cx="4191000" cy="2357438"/>
          </a:xfrm>
          <a:prstGeom prst="rect">
            <a:avLst/>
          </a:prstGeom>
          <a:noFill/>
          <a:ln w="12700">
            <a:solidFill>
              <a:prstClr val="black"/>
            </a:solidFill>
          </a:ln>
        </p:spPr>
        <p:txBody>
          <a:bodyPr vert="horz" lIns="91440" tIns="45720" rIns="91440" bIns="45720" rtlCol="0" anchor="ctr"/>
          <a:lstStyle/>
          <a:p>
            <a:endParaRPr lang="en-US"/>
          </a:p>
        </p:txBody>
      </p:sp>
      <p:sp>
        <p:nvSpPr>
          <p:cNvPr id="10" name="TextBox 9">
            <a:extLst>
              <a:ext uri="{FF2B5EF4-FFF2-40B4-BE49-F238E27FC236}">
                <a16:creationId xmlns:a16="http://schemas.microsoft.com/office/drawing/2014/main" id="{F59BBFC6-D472-4F66-A33B-98EEDC87B9D3}"/>
              </a:ext>
            </a:extLst>
          </p:cNvPr>
          <p:cNvSpPr txBox="1"/>
          <p:nvPr/>
        </p:nvSpPr>
        <p:spPr>
          <a:xfrm rot="16200000">
            <a:off x="-840060" y="1686780"/>
            <a:ext cx="2301912" cy="138499"/>
          </a:xfrm>
          <a:prstGeom prst="rect">
            <a:avLst/>
          </a:prstGeom>
          <a:noFill/>
        </p:spPr>
        <p:txBody>
          <a:bodyPr wrap="none" lIns="0" tIns="0" rIns="0" bIns="0" rtlCol="0" anchor="ctr" anchorCtr="0">
            <a:spAutoFit/>
          </a:bodyPr>
          <a:lstStyle/>
          <a:p>
            <a:pPr algn="ctr"/>
            <a:r>
              <a:rPr lang="en-US" sz="900">
                <a:solidFill>
                  <a:srgbClr val="C0C0C0"/>
                </a:solidFill>
              </a:rPr>
              <a:t>— NOT FOR EXTERNAL DISTRIBUTION —</a:t>
            </a:r>
          </a:p>
        </p:txBody>
      </p:sp>
      <p:sp>
        <p:nvSpPr>
          <p:cNvPr id="11" name="TextBox 10">
            <a:extLst>
              <a:ext uri="{FF2B5EF4-FFF2-40B4-BE49-F238E27FC236}">
                <a16:creationId xmlns:a16="http://schemas.microsoft.com/office/drawing/2014/main" id="{DA573FBF-EDF7-4974-B2B2-CF1E73B474F9}"/>
              </a:ext>
            </a:extLst>
          </p:cNvPr>
          <p:cNvSpPr txBox="1"/>
          <p:nvPr/>
        </p:nvSpPr>
        <p:spPr>
          <a:xfrm rot="5400000">
            <a:off x="5396148" y="1686780"/>
            <a:ext cx="2301912" cy="138499"/>
          </a:xfrm>
          <a:prstGeom prst="rect">
            <a:avLst/>
          </a:prstGeom>
          <a:noFill/>
        </p:spPr>
        <p:txBody>
          <a:bodyPr wrap="none" lIns="0" tIns="0" rIns="0" bIns="0" rtlCol="0" anchor="ctr" anchorCtr="0">
            <a:spAutoFit/>
          </a:bodyPr>
          <a:lstStyle/>
          <a:p>
            <a:pPr algn="ctr"/>
            <a:r>
              <a:rPr lang="en-US" sz="900">
                <a:solidFill>
                  <a:srgbClr val="C0C0C0"/>
                </a:solidFill>
              </a:rPr>
              <a:t>— NOT FOR EXTERNAL DISTRIBUTION —</a:t>
            </a:r>
          </a:p>
        </p:txBody>
      </p:sp>
      <p:sp>
        <p:nvSpPr>
          <p:cNvPr id="23" name="TextBox 22">
            <a:extLst>
              <a:ext uri="{FF2B5EF4-FFF2-40B4-BE49-F238E27FC236}">
                <a16:creationId xmlns:a16="http://schemas.microsoft.com/office/drawing/2014/main" id="{92C8F8D4-DFC9-4259-86F5-A4F987BA15DE}"/>
              </a:ext>
            </a:extLst>
          </p:cNvPr>
          <p:cNvSpPr txBox="1"/>
          <p:nvPr/>
        </p:nvSpPr>
        <p:spPr>
          <a:xfrm>
            <a:off x="246888" y="8887968"/>
            <a:ext cx="6290183" cy="184666"/>
          </a:xfrm>
          <a:prstGeom prst="rect">
            <a:avLst/>
          </a:prstGeom>
          <a:noFill/>
        </p:spPr>
        <p:txBody>
          <a:bodyPr wrap="none" lIns="0" tIns="0" rIns="0" bIns="0" rtlCol="0" anchor="b" anchorCtr="0">
            <a:spAutoFit/>
          </a:bodyPr>
          <a:lstStyle/>
          <a:p>
            <a:pPr marL="228600" indent="-228600"/>
            <a:fld id="{E1F39F5E-4058-4856-B2BD-0FDE5C1B6221}" type="slidenum">
              <a:rPr lang="en-US" sz="600" smtClean="0"/>
              <a:t>‹#›</a:t>
            </a:fld>
            <a:r>
              <a:rPr lang="en-US" sz="600"/>
              <a:t>	© 2023 Gartner, Inc. and/or its affiliates. All rights reserved. Gartner is a registered trademark of Gartner, Inc. or its affiliates.</a:t>
            </a:r>
            <a:br>
              <a:rPr lang="en-US" sz="600"/>
            </a:br>
            <a:r>
              <a:rPr lang="en-US" sz="600" b="1"/>
              <a:t>INTERNAL — FOR INTERNAL USE ONLY or RESTRICTED [CHOOSE ONE — DELETE AS APPROPRIATE]</a:t>
            </a:r>
            <a:r>
              <a:rPr lang="en-US" sz="600"/>
              <a:t> | Version X.X | Last updated [insert date format: DD Month YYYY]</a:t>
            </a:r>
          </a:p>
        </p:txBody>
      </p:sp>
      <p:sp>
        <p:nvSpPr>
          <p:cNvPr id="26" name="TextBox 25">
            <a:extLst>
              <a:ext uri="{FF2B5EF4-FFF2-40B4-BE49-F238E27FC236}">
                <a16:creationId xmlns:a16="http://schemas.microsoft.com/office/drawing/2014/main" id="{EF32A807-544A-4EBE-989F-ECAA016BF8D1}"/>
              </a:ext>
            </a:extLst>
          </p:cNvPr>
          <p:cNvSpPr txBox="1"/>
          <p:nvPr/>
        </p:nvSpPr>
        <p:spPr>
          <a:xfrm>
            <a:off x="246887" y="128016"/>
            <a:ext cx="6327648" cy="244682"/>
          </a:xfrm>
          <a:prstGeom prst="rect">
            <a:avLst/>
          </a:prstGeom>
          <a:noFill/>
        </p:spPr>
        <p:txBody>
          <a:bodyPr wrap="square" lIns="0" rtlCol="0">
            <a:spAutoFit/>
          </a:bodyPr>
          <a:lstStyle/>
          <a:p>
            <a:pPr>
              <a:lnSpc>
                <a:spcPct val="90000"/>
              </a:lnSpc>
            </a:pPr>
            <a:r>
              <a:rPr lang="en-US" sz="1100" b="1">
                <a:solidFill>
                  <a:schemeClr val="tx1"/>
                </a:solidFill>
              </a:rPr>
              <a:t>Presentation Title</a:t>
            </a:r>
          </a:p>
        </p:txBody>
      </p:sp>
    </p:spTree>
    <p:extLst>
      <p:ext uri="{BB962C8B-B14F-4D97-AF65-F5344CB8AC3E}">
        <p14:creationId xmlns:p14="http://schemas.microsoft.com/office/powerpoint/2010/main" val="922378356"/>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90000"/>
      </a:lnSpc>
      <a:spcAft>
        <a:spcPts val="600"/>
      </a:spcAft>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6262000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1112640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32309713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30274754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901141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42414272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39649809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4483963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519703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0286496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4121822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31791615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3501132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7870743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8360392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40404395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6222565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8714880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6656893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6677068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38147163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31720278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5551914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5968839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34296211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1215630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9738511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3629836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7801948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6643997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36937149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8638042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383254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89432898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2484874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42720553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8229758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76041311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6001554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373826340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3923768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462020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14093985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8791899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5088242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3104118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395006493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02748218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58142879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35223754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15363211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5442313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340884918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76763824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8335890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306702107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333507810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69301893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381300195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63444815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77107234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69784826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03766358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378850060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410146608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1162665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93843694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73734517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70618626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03181996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0135661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331304051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89464434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41533911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426352812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53972623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5317373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66688985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73774961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41052400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86182750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00353134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6881222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7287978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51356397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47015317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56002776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270834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59036800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250271056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54861042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21396056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84790640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76085134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113150640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96910591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4:notes"/>
          <p:cNvSpPr>
            <a:spLocks noGrp="1" noRot="1" noChangeAspect="1"/>
          </p:cNvSpPr>
          <p:nvPr>
            <p:ph type="sldImg" idx="2"/>
          </p:nvPr>
        </p:nvSpPr>
        <p:spPr>
          <a:xfrm>
            <a:off x="1528763" y="709613"/>
            <a:ext cx="4518025" cy="2541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4:notes"/>
          <p:cNvSpPr txBox="1">
            <a:spLocks noGrp="1"/>
          </p:cNvSpPr>
          <p:nvPr>
            <p:ph type="body" idx="1"/>
          </p:nvPr>
        </p:nvSpPr>
        <p:spPr>
          <a:xfrm>
            <a:off x="272736" y="3379550"/>
            <a:ext cx="7040604" cy="614318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p>
        </p:txBody>
      </p:sp>
    </p:spTree>
    <p:extLst>
      <p:ext uri="{BB962C8B-B14F-4D97-AF65-F5344CB8AC3E}">
        <p14:creationId xmlns:p14="http://schemas.microsoft.com/office/powerpoint/2010/main" val="7870392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a:t>© 2024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1909068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94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6"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62841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37666173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27358564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38272909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11573963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3228780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 2023 Gartner, Inc. and/or its affiliates. All rights reserved. Gartner is a registered trademark of Gartner, Inc. or its affiliates. This presentation, including all supporting materials, </a:t>
            </a:r>
            <a:b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b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26163012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white"/>
                </a:solidFill>
                <a:effectLst/>
                <a:uLnTx/>
                <a:uFillTx/>
                <a:latin typeface="Arial" panose="020B0604020202020204"/>
                <a:ea typeface="+mn-ea"/>
                <a:cs typeface="+mn-cs"/>
              </a:rPr>
              <a:t>© 2023 Gartner, Inc. and/or its affiliates. All rights reserved. Gartner is a registered trademark of Gartner, Inc. or its affiliates. This presentation, including all supporting materials, </a:t>
            </a:r>
            <a:br>
              <a:rPr kumimoji="0" lang="en-US" sz="700" b="0" i="0" u="none" strike="noStrike" kern="1200" cap="none" spc="0" normalizeH="0" baseline="0" noProof="0">
                <a:ln>
                  <a:noFill/>
                </a:ln>
                <a:solidFill>
                  <a:prstClr val="white"/>
                </a:solidFill>
                <a:effectLst/>
                <a:uLnTx/>
                <a:uFillTx/>
                <a:latin typeface="Arial" panose="020B0604020202020204"/>
                <a:ea typeface="+mn-ea"/>
                <a:cs typeface="+mn-cs"/>
              </a:rPr>
            </a:br>
            <a:r>
              <a:rPr kumimoji="0" lang="en-US" sz="700" b="0" i="0" u="none" strike="noStrike" kern="1200" cap="none" spc="0" normalizeH="0" baseline="0" noProof="0">
                <a:ln>
                  <a:noFill/>
                </a:ln>
                <a:solidFill>
                  <a:prstClr val="white"/>
                </a:solidFill>
                <a:effectLst/>
                <a:uLnTx/>
                <a:uFillTx/>
                <a:latin typeface="Arial" panose="020B0604020202020204"/>
                <a:ea typeface="+mn-ea"/>
                <a:cs typeface="+mn-cs"/>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639720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8101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3602839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15370908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48820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82789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70608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41805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41883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62650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6"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59627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6242837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6219131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27896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39402811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2231408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16010545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12596665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8752927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04225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10521450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96861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21003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5301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2352677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90074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1761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63235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6"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38694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26334897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35515941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14468074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7460310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17664570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01944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28850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1253319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3711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352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60856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89529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59101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41106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6"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88570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ivider B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18488505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0A68FFD-9422-AD48-96B9-A164E1A79E21}"/>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3" name="Text Placeholder 2">
            <a:extLst>
              <a:ext uri="{FF2B5EF4-FFF2-40B4-BE49-F238E27FC236}">
                <a16:creationId xmlns:a16="http://schemas.microsoft.com/office/drawing/2014/main" id="{01906285-85F2-BB4E-BA6A-9804659FC9B8}"/>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2185573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40419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C1B8D32-229C-DC4A-BA04-F2B64E28B5EC}"/>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4" name="Text Placeholder 2">
            <a:extLst>
              <a:ext uri="{FF2B5EF4-FFF2-40B4-BE49-F238E27FC236}">
                <a16:creationId xmlns:a16="http://schemas.microsoft.com/office/drawing/2014/main" id="{050C34B8-7526-044F-B179-517E7649638E}"/>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687632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Title Slide W1_Steel">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955275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 W1_Surf">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3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119218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 W1_Tang">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3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324371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Title Slide W1_Lemon">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3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26634787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le Slide W1_Ros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3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955560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ivider W1_Ste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42071867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ivider W1_Sur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25698250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ivider W1_Ta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42243179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ivider W1_Lem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21218616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783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Divider W1_Ros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29714958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Title Slide B1_Steel">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a:t>© 2023 Gartner, Inc. and/or its affiliates. All rights reserved. Gartner is a registered trademark of Gartner, Inc. or its affiliates. This presentation, including all supporting materials, </a:t>
            </a:r>
            <a:br>
              <a:rPr lang="en-US" sz="700"/>
            </a:br>
            <a:r>
              <a:rPr lang="en-US" sz="70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4163643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Title Slide B1_Surf">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3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4213959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Title Slide B1_Tang">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3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2134883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itle" preserve="1">
  <p:cSld name="Title Slide B1_Lem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3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2205672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Title Slide B1_Ros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a:t>© 2023 Gartner, Inc. and/or its affiliates. All rights reserved. Gartner is a registered trademark of Gartner, Inc. or its affiliates. This presentation, including all supporting materials, </a:t>
            </a:r>
            <a:br>
              <a:rPr lang="en-US"/>
            </a:br>
            <a:r>
              <a:rPr lang="en-US"/>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26457355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ivider B1_Ste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9327487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ivider B1_Sur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33901114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ivider B1_Ta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19987998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Divider B1_Lem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11510800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1412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Divider B1_Ros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p>
        </p:txBody>
      </p:sp>
    </p:spTree>
    <p:extLst>
      <p:ext uri="{BB962C8B-B14F-4D97-AF65-F5344CB8AC3E}">
        <p14:creationId xmlns:p14="http://schemas.microsoft.com/office/powerpoint/2010/main" val="35722320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94625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1.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1.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4.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image" Target="../media/image1.pn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5.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image" Target="../media/image2.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6.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02222"/>
            <a:ext cx="2313432" cy="107722"/>
          </a:xfrm>
          <a:prstGeom prst="rect">
            <a:avLst/>
          </a:prstGeom>
          <a:noFill/>
        </p:spPr>
        <p:txBody>
          <a:bodyPr wrap="square" lIns="0" tIns="0" rIns="0" bIns="0" rtlCol="0" anchor="b" anchorCtr="0">
            <a:spAutoFit/>
          </a:bodyPr>
          <a:lstStyle/>
          <a:p>
            <a:pPr>
              <a:lnSpc>
                <a:spcPct val="100000"/>
              </a:lnSpc>
              <a:spcBef>
                <a:spcPts val="0"/>
              </a:spcBef>
              <a:spcAft>
                <a:spcPts val="0"/>
              </a:spcAft>
            </a:pPr>
            <a:r>
              <a:rPr lang="en-US" sz="700" b="1">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 2024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377813297"/>
      </p:ext>
    </p:extLst>
  </p:cSld>
  <p:clrMap bg1="lt1" tx1="dk1" bg2="lt2" tx2="dk2" accent1="accent1" accent2="accent2" accent3="accent3" accent4="accent4" accent5="accent5" accent6="accent6" hlink="hlink" folHlink="folHlink"/>
  <p:sldLayoutIdLst>
    <p:sldLayoutId id="2147483929" r:id="rId1"/>
    <p:sldLayoutId id="2147483852" r:id="rId2"/>
    <p:sldLayoutId id="2147483854" r:id="rId3"/>
    <p:sldLayoutId id="2147483855" r:id="rId4"/>
    <p:sldLayoutId id="2147483856" r:id="rId5"/>
    <p:sldLayoutId id="2147483857" r:id="rId6"/>
    <p:sldLayoutId id="2147483858" r:id="rId7"/>
    <p:sldLayoutId id="2147483859" r:id="rId8"/>
    <p:sldLayoutId id="2147483860" r:id="rId9"/>
    <p:sldLayoutId id="2147483943" r:id="rId10"/>
    <p:sldLayoutId id="2147483944" r:id="rId11"/>
    <p:sldLayoutId id="2147483863" r:id="rId12"/>
    <p:sldLayoutId id="2147483864" r:id="rId13"/>
    <p:sldLayoutId id="2147483867" r:id="rId14"/>
    <p:sldLayoutId id="2147483941" r:id="rId15"/>
    <p:sldLayoutId id="2147483947" r:id="rId16"/>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userDrawn="1">
          <p15:clr>
            <a:srgbClr val="A4A3A4"/>
          </p15:clr>
        </p15:guide>
        <p15:guide id="15" pos="3840" userDrawn="1">
          <p15:clr>
            <a:srgbClr val="A4A3A4"/>
          </p15:clr>
        </p15:guide>
        <p15:guide id="16" orient="horz" pos="228" userDrawn="1">
          <p15:clr>
            <a:srgbClr val="5ACBF0"/>
          </p15:clr>
        </p15:guide>
        <p15:guide id="17" orient="horz" pos="537" userDrawn="1">
          <p15:clr>
            <a:srgbClr val="FDE53C"/>
          </p15:clr>
        </p15:guide>
        <p15:guide id="18" orient="horz" pos="848" userDrawn="1">
          <p15:clr>
            <a:srgbClr val="FDE53C"/>
          </p15:clr>
        </p15:guide>
        <p15:guide id="19" orient="horz" pos="960" userDrawn="1">
          <p15:clr>
            <a:srgbClr val="5ACBF0"/>
          </p15:clr>
        </p15:guide>
        <p15:guide id="20" orient="horz" pos="3773" userDrawn="1">
          <p15:clr>
            <a:srgbClr val="FBAE40"/>
          </p15:clr>
        </p15:guide>
        <p15:guide id="21" orient="horz" pos="4001" userDrawn="1">
          <p15:clr>
            <a:srgbClr val="5ACBF0"/>
          </p15:clr>
        </p15:guide>
        <p15:guide id="22" orient="horz" pos="4113" userDrawn="1">
          <p15:clr>
            <a:srgbClr val="5ACBF0"/>
          </p15:clr>
        </p15:guide>
        <p15:guide id="23" pos="288" userDrawn="1">
          <p15:clr>
            <a:srgbClr val="5ACBF0"/>
          </p15:clr>
        </p15:guide>
        <p15:guide id="24" pos="3756" userDrawn="1">
          <p15:clr>
            <a:srgbClr val="5ACBF0"/>
          </p15:clr>
        </p15:guide>
        <p15:guide id="25" pos="3927" userDrawn="1">
          <p15:clr>
            <a:srgbClr val="5ACBF0"/>
          </p15:clr>
        </p15:guide>
        <p15:guide id="26" pos="7394" userDrawn="1">
          <p15:clr>
            <a:srgbClr val="5ACBF0"/>
          </p15:clr>
        </p15:guide>
        <p15:guide id="27" orient="horz" pos="3969"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02222"/>
            <a:ext cx="2313432" cy="107722"/>
          </a:xfrm>
          <a:prstGeom prst="rect">
            <a:avLst/>
          </a:prstGeom>
          <a:noFill/>
        </p:spPr>
        <p:txBody>
          <a:bodyPr wrap="square" lIns="0" tIns="0" rIns="0" bIns="0" rtlCol="0" anchor="b"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Arial" panose="020B0604020202020204"/>
                <a:ea typeface="+mn-ea"/>
                <a:cs typeface="+mn-cs"/>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marR="0" lvl="0" indent="-228600" algn="l" defTabSz="457200" rtl="0" eaLnBrk="1" fontAlgn="auto" latinLnBrk="0" hangingPunct="1">
              <a:lnSpc>
                <a:spcPct val="100000"/>
              </a:lnSpc>
              <a:spcBef>
                <a:spcPts val="0"/>
              </a:spcBef>
              <a:spcAft>
                <a:spcPts val="0"/>
              </a:spcAft>
              <a:buClrTx/>
              <a:buSzTx/>
              <a:buFontTx/>
              <a:buNone/>
              <a:tabLst/>
              <a:defRPr/>
            </a:pPr>
            <a:fld id="{E19460A7-1930-4D5F-A936-CB6F16095A68}"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228600" marR="0" lvl="0" indent="-228600" algn="l" defTabSz="457200" rtl="0" eaLnBrk="1" fontAlgn="auto" latinLnBrk="0" hangingPunct="1">
                <a:lnSpc>
                  <a:spcPct val="100000"/>
                </a:lnSpc>
                <a:spcBef>
                  <a:spcPts val="0"/>
                </a:spcBef>
                <a:spcAft>
                  <a:spcPts val="0"/>
                </a:spcAft>
                <a:buClrTx/>
                <a:buSzTx/>
                <a:buFontTx/>
                <a:buNone/>
                <a:tabLst/>
                <a:defRPr/>
              </a:pPr>
              <a:t>‹#›</a:t>
            </a:fld>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	© 2023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866750936"/>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02222"/>
            <a:ext cx="2313432" cy="107722"/>
          </a:xfrm>
          <a:prstGeom prst="rect">
            <a:avLst/>
          </a:prstGeom>
          <a:noFill/>
        </p:spPr>
        <p:txBody>
          <a:bodyPr wrap="square" lIns="0" tIns="0" rIns="0" bIns="0" rtlCol="0" anchor="b" anchorCtr="0">
            <a:spAutoFit/>
          </a:bodyPr>
          <a:lstStyle/>
          <a:p>
            <a:pPr>
              <a:lnSpc>
                <a:spcPct val="100000"/>
              </a:lnSpc>
              <a:spcBef>
                <a:spcPts val="0"/>
              </a:spcBef>
              <a:spcAft>
                <a:spcPts val="0"/>
              </a:spcAft>
            </a:pPr>
            <a:r>
              <a:rPr lang="en-US" sz="700" b="1">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 2023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122461877"/>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 id="2147483960" r:id="rId12"/>
    <p:sldLayoutId id="2147483961" r:id="rId13"/>
    <p:sldLayoutId id="2147483962" r:id="rId14"/>
    <p:sldLayoutId id="2147483963" r:id="rId15"/>
    <p:sldLayoutId id="2147483964" r:id="rId16"/>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12994"/>
            <a:ext cx="2313432" cy="96950"/>
          </a:xfrm>
          <a:prstGeom prst="rect">
            <a:avLst/>
          </a:prstGeom>
          <a:noFill/>
        </p:spPr>
        <p:txBody>
          <a:bodyPr wrap="square" lIns="0" tIns="0" rIns="0" bIns="0" rtlCol="0" anchor="b" anchorCtr="0">
            <a:spAutoFit/>
          </a:bodyPr>
          <a:lstStyle>
            <a:defPPr>
              <a:defRPr lang="en-US"/>
            </a:defPPr>
            <a:lvl1pPr>
              <a:lnSpc>
                <a:spcPct val="100000"/>
              </a:lnSpc>
              <a:spcBef>
                <a:spcPts val="0"/>
              </a:spcBef>
              <a:spcAft>
                <a:spcPts val="0"/>
              </a:spcAft>
              <a:defRPr sz="700" b="1"/>
            </a:lvl1pPr>
          </a:lstStyle>
          <a:p>
            <a:pPr lvl="0"/>
            <a:r>
              <a:rPr lang="en-US"/>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 2023 Gartner, Inc. and/or its affiliates. All rights reserved.				</a:t>
            </a:r>
          </a:p>
        </p:txBody>
      </p:sp>
      <p:pic>
        <p:nvPicPr>
          <p:cNvPr id="8" name="Picture 7">
            <a:extLst>
              <a:ext uri="{FF2B5EF4-FFF2-40B4-BE49-F238E27FC236}">
                <a16:creationId xmlns:a16="http://schemas.microsoft.com/office/drawing/2014/main" id="{7691A022-4AA8-4AE4-97E5-9A634D272F00}"/>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453051" y="6242938"/>
            <a:ext cx="1280161" cy="291370"/>
          </a:xfrm>
          <a:prstGeom prst="rect">
            <a:avLst/>
          </a:prstGeom>
        </p:spPr>
      </p:pic>
    </p:spTree>
    <p:extLst>
      <p:ext uri="{BB962C8B-B14F-4D97-AF65-F5344CB8AC3E}">
        <p14:creationId xmlns:p14="http://schemas.microsoft.com/office/powerpoint/2010/main" val="358496023"/>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945" r:id="rId8"/>
    <p:sldLayoutId id="2147483946" r:id="rId9"/>
    <p:sldLayoutId id="2147483882" r:id="rId10"/>
    <p:sldLayoutId id="2147483884" r:id="rId11"/>
    <p:sldLayoutId id="2147483942" r:id="rId12"/>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888"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0664" indent="-310896"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76"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352" indent="-32004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264" indent="-246888"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userDrawn="1">
          <p15:clr>
            <a:srgbClr val="9FCC3B"/>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12994"/>
            <a:ext cx="2313432" cy="96950"/>
          </a:xfrm>
          <a:prstGeom prst="rect">
            <a:avLst/>
          </a:prstGeom>
          <a:noFill/>
        </p:spPr>
        <p:txBody>
          <a:bodyPr wrap="square" lIns="0" tIns="0" rIns="0" bIns="0" rtlCol="0" anchor="b" anchorCtr="0">
            <a:spAutoFit/>
          </a:bodyPr>
          <a:lstStyle>
            <a:defPPr>
              <a:defRPr lang="en-US"/>
            </a:defPPr>
            <a:lvl1pPr>
              <a:lnSpc>
                <a:spcPct val="100000"/>
              </a:lnSpc>
              <a:spcBef>
                <a:spcPts val="0"/>
              </a:spcBef>
              <a:spcAft>
                <a:spcPts val="0"/>
              </a:spcAft>
              <a:defRPr sz="700" b="1"/>
            </a:lvl1pPr>
          </a:lstStyle>
          <a:p>
            <a:pPr lvl="0"/>
            <a:r>
              <a:rPr lang="en-US"/>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 2023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2783984989"/>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898" r:id="rId6"/>
    <p:sldLayoutId id="2147483911" r:id="rId7"/>
    <p:sldLayoutId id="2147483899" r:id="rId8"/>
    <p:sldLayoutId id="2147483906" r:id="rId9"/>
    <p:sldLayoutId id="2147483907" r:id="rId10"/>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888"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0664" indent="-310896"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76"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352"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264" indent="-246888"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userDrawn="1">
          <p15:clr>
            <a:srgbClr val="9FCC3B"/>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12994"/>
            <a:ext cx="2313432" cy="96950"/>
          </a:xfrm>
          <a:prstGeom prst="rect">
            <a:avLst/>
          </a:prstGeom>
          <a:noFill/>
        </p:spPr>
        <p:txBody>
          <a:bodyPr wrap="square" lIns="0" tIns="0" rIns="0" bIns="0" rtlCol="0" anchor="b" anchorCtr="0">
            <a:spAutoFit/>
          </a:bodyPr>
          <a:lstStyle>
            <a:defPPr>
              <a:defRPr lang="en-US"/>
            </a:defPPr>
            <a:lvl1pPr>
              <a:lnSpc>
                <a:spcPct val="100000"/>
              </a:lnSpc>
              <a:spcBef>
                <a:spcPts val="0"/>
              </a:spcBef>
              <a:spcAft>
                <a:spcPts val="0"/>
              </a:spcAft>
              <a:defRPr sz="700" b="1"/>
            </a:lvl1pPr>
          </a:lstStyle>
          <a:p>
            <a:pPr lvl="0"/>
            <a:r>
              <a:rPr lang="en-US"/>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a:solidFill>
                  <a:schemeClr val="tx1"/>
                </a:solidFill>
              </a:rPr>
              <a:t>	© 2023 Gartner, Inc. and/or its affiliates. All rights reserved.				</a:t>
            </a:r>
          </a:p>
        </p:txBody>
      </p:sp>
      <p:pic>
        <p:nvPicPr>
          <p:cNvPr id="8" name="Picture 7">
            <a:extLst>
              <a:ext uri="{FF2B5EF4-FFF2-40B4-BE49-F238E27FC236}">
                <a16:creationId xmlns:a16="http://schemas.microsoft.com/office/drawing/2014/main" id="{8EFC24DA-563F-4E0A-8B89-C124930D7DCD}"/>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453051" y="6242938"/>
            <a:ext cx="1280161" cy="291370"/>
          </a:xfrm>
          <a:prstGeom prst="rect">
            <a:avLst/>
          </a:prstGeom>
        </p:spPr>
      </p:pic>
    </p:spTree>
    <p:extLst>
      <p:ext uri="{BB962C8B-B14F-4D97-AF65-F5344CB8AC3E}">
        <p14:creationId xmlns:p14="http://schemas.microsoft.com/office/powerpoint/2010/main" val="1772973834"/>
      </p:ext>
    </p:extLst>
  </p:cSld>
  <p:clrMap bg1="dk1" tx1="lt1" bg2="dk2" tx2="lt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19" r:id="rId6"/>
    <p:sldLayoutId id="2147483920" r:id="rId7"/>
    <p:sldLayoutId id="2147483921" r:id="rId8"/>
    <p:sldLayoutId id="2147483922" r:id="rId9"/>
    <p:sldLayoutId id="2147483923" r:id="rId10"/>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888"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0664" indent="-310896"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76"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352" indent="-32004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264" indent="-246888"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userDrawn="1">
          <p15:clr>
            <a:srgbClr val="9FCC3B"/>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mailto:betaresearch@gartner.com?subject=Feedback%20on%20Beta%20Research%20Document%20803060"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81.xml"/><Relationship Id="rId7" Type="http://schemas.openxmlformats.org/officeDocument/2006/relationships/hyperlink" Target="https://www.bloomberg.com/press-releases/2023-08-31/openai-s-chatgpt-and-lqr-house-collaborate-to-enhance-customer-experience-and-overall-conversions-on-cwspirits-com-llzdhdvg" TargetMode="External"/><Relationship Id="rId2" Type="http://schemas.openxmlformats.org/officeDocument/2006/relationships/slideLayout" Target="../slideLayouts/slideLayout16.xml"/><Relationship Id="rId1" Type="http://schemas.openxmlformats.org/officeDocument/2006/relationships/tags" Target="../tags/tag81.xml"/><Relationship Id="rId6" Type="http://schemas.openxmlformats.org/officeDocument/2006/relationships/hyperlink" Target="https://ts2.space/en/elevating-marketing-precision-lqr-house-enhances-customer-experience-with-ai-integration/" TargetMode="External"/><Relationship Id="rId5" Type="http://schemas.openxmlformats.org/officeDocument/2006/relationships/image" Target="../media/image3.emf"/><Relationship Id="rId4" Type="http://schemas.openxmlformats.org/officeDocument/2006/relationships/oleObject" Target="../embeddings/oleObject72.bin"/></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82.xml"/><Relationship Id="rId7" Type="http://schemas.openxmlformats.org/officeDocument/2006/relationships/hyperlink" Target="https://www.paymentsdive.com/news/square-adds-generative-ai-tools-for-sellers/697200/" TargetMode="External"/><Relationship Id="rId2" Type="http://schemas.openxmlformats.org/officeDocument/2006/relationships/slideLayout" Target="../slideLayouts/slideLayout16.xml"/><Relationship Id="rId1" Type="http://schemas.openxmlformats.org/officeDocument/2006/relationships/tags" Target="../tags/tag82.xml"/><Relationship Id="rId6" Type="http://schemas.openxmlformats.org/officeDocument/2006/relationships/hyperlink" Target="https://squareup.com/us/en/press/square-ai-tools" TargetMode="External"/><Relationship Id="rId5" Type="http://schemas.openxmlformats.org/officeDocument/2006/relationships/image" Target="../media/image3.emf"/><Relationship Id="rId4" Type="http://schemas.openxmlformats.org/officeDocument/2006/relationships/oleObject" Target="../embeddings/oleObject4.bin"/></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16.xml"/><Relationship Id="rId1" Type="http://schemas.openxmlformats.org/officeDocument/2006/relationships/tags" Target="../tags/tag83.xml"/><Relationship Id="rId6" Type="http://schemas.openxmlformats.org/officeDocument/2006/relationships/hyperlink" Target="https://www.aboutamazon.com/news/amazon-ai/amazon-improves-customer-reviews-with-generative-ai" TargetMode="External"/><Relationship Id="rId5" Type="http://schemas.openxmlformats.org/officeDocument/2006/relationships/image" Target="../media/image3.emf"/><Relationship Id="rId4" Type="http://schemas.openxmlformats.org/officeDocument/2006/relationships/oleObject" Target="../embeddings/oleObject4.bin"/></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16.xml"/><Relationship Id="rId1" Type="http://schemas.openxmlformats.org/officeDocument/2006/relationships/tags" Target="../tags/tag84.xml"/><Relationship Id="rId6" Type="http://schemas.openxmlformats.org/officeDocument/2006/relationships/hyperlink" Target="https://tripadvisor.mediaroom.com/Tripadvisor-launches-AI-powered-travel-planning-product" TargetMode="External"/><Relationship Id="rId5" Type="http://schemas.openxmlformats.org/officeDocument/2006/relationships/image" Target="../media/image3.emf"/><Relationship Id="rId4" Type="http://schemas.openxmlformats.org/officeDocument/2006/relationships/oleObject" Target="../embeddings/oleObject4.bin"/></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16.xml"/><Relationship Id="rId1" Type="http://schemas.openxmlformats.org/officeDocument/2006/relationships/tags" Target="../tags/tag85.xml"/><Relationship Id="rId6" Type="http://schemas.openxmlformats.org/officeDocument/2006/relationships/hyperlink" Target="https://www.siliconrepublic.com/machines/zalando-chatgpt-ai-fashion-assistant" TargetMode="External"/><Relationship Id="rId5" Type="http://schemas.openxmlformats.org/officeDocument/2006/relationships/image" Target="../media/image3.emf"/><Relationship Id="rId4" Type="http://schemas.openxmlformats.org/officeDocument/2006/relationships/oleObject" Target="../embeddings/oleObject4.bin"/></Relationships>
</file>

<file path=ppt/slides/_rels/slide105.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16.xml"/><Relationship Id="rId1" Type="http://schemas.openxmlformats.org/officeDocument/2006/relationships/tags" Target="../tags/tag86.xml"/><Relationship Id="rId6" Type="http://schemas.openxmlformats.org/officeDocument/2006/relationships/hyperlink" Target="https://www.peppercontent.io/customers/case-study/how-verse-innovation-increased-their-ctrs-by-70/" TargetMode="Externa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16.xml"/><Relationship Id="rId1" Type="http://schemas.openxmlformats.org/officeDocument/2006/relationships/tags" Target="../tags/tag87.xml"/><Relationship Id="rId6" Type="http://schemas.openxmlformats.org/officeDocument/2006/relationships/hyperlink" Target="https://forethought.ai/case-studies/lime-case-study/#:~:text=Automating%20to%20Scale%20Support&amp;text=With%20Triage%2C%20Lime%20automates%20the,in%20time%20to%20first%20response" TargetMode="Externa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16.xml"/><Relationship Id="rId1" Type="http://schemas.openxmlformats.org/officeDocument/2006/relationships/tags" Target="../tags/tag88.xml"/><Relationship Id="rId6" Type="http://schemas.openxmlformats.org/officeDocument/2006/relationships/hyperlink" Target="https://forethought.ai/case-studies/upwork/#challenges" TargetMode="External"/><Relationship Id="rId5" Type="http://schemas.openxmlformats.org/officeDocument/2006/relationships/image" Target="../media/image3.emf"/><Relationship Id="rId4" Type="http://schemas.openxmlformats.org/officeDocument/2006/relationships/oleObject" Target="../embeddings/oleObject75.bin"/></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16.xml"/><Relationship Id="rId1" Type="http://schemas.openxmlformats.org/officeDocument/2006/relationships/tags" Target="../tags/tag89.xml"/><Relationship Id="rId6" Type="http://schemas.openxmlformats.org/officeDocument/2006/relationships/hyperlink" Target="https://forethought.ai/case-studies/ifit/" TargetMode="External"/><Relationship Id="rId5" Type="http://schemas.openxmlformats.org/officeDocument/2006/relationships/image" Target="../media/image3.emf"/><Relationship Id="rId4" Type="http://schemas.openxmlformats.org/officeDocument/2006/relationships/oleObject" Target="../embeddings/oleObject7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6.xml"/><Relationship Id="rId1" Type="http://schemas.openxmlformats.org/officeDocument/2006/relationships/tags" Target="../tags/tag6.xml"/><Relationship Id="rId6" Type="http://schemas.openxmlformats.org/officeDocument/2006/relationships/hyperlink" Target="https://www.cio.com/article/475487/carmax-drives-business-value-with-gpt-3-5.html" TargetMode="External"/><Relationship Id="rId5" Type="http://schemas.openxmlformats.org/officeDocument/2006/relationships/image" Target="../media/image3.emf"/><Relationship Id="rId4" Type="http://schemas.openxmlformats.org/officeDocument/2006/relationships/oleObject" Target="../embeddings/oleObject5.bin"/></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90.xml"/><Relationship Id="rId7" Type="http://schemas.openxmlformats.org/officeDocument/2006/relationships/hyperlink" Target="https://www.prnewswire.com/news-releases/solo-stove-partners-with-simplr-to-launch-first-generative-ai-chatbot-in-the-outdoor-recreation-space-301876217.html" TargetMode="External"/><Relationship Id="rId2" Type="http://schemas.openxmlformats.org/officeDocument/2006/relationships/slideLayout" Target="../slideLayouts/slideLayout16.xml"/><Relationship Id="rId1" Type="http://schemas.openxmlformats.org/officeDocument/2006/relationships/tags" Target="../tags/tag90.xml"/><Relationship Id="rId6" Type="http://schemas.openxmlformats.org/officeDocument/2006/relationships/hyperlink" Target="https://www.simplr.ai/reviews-customer-stories/solostove-reduced-its-digital-inquiry-workload-with-simplr" TargetMode="External"/><Relationship Id="rId5" Type="http://schemas.openxmlformats.org/officeDocument/2006/relationships/image" Target="../media/image3.emf"/><Relationship Id="rId4" Type="http://schemas.openxmlformats.org/officeDocument/2006/relationships/oleObject" Target="../embeddings/oleObject77.bin"/></Relationships>
</file>

<file path=ppt/slides/_rels/slide111.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16.xml"/><Relationship Id="rId1" Type="http://schemas.openxmlformats.org/officeDocument/2006/relationships/tags" Target="../tags/tag91.xml"/><Relationship Id="rId6" Type="http://schemas.openxmlformats.org/officeDocument/2006/relationships/hyperlink" Target="https://www.mckinsey.com/about-us/new-at-mckinsey-blog/meet-lilli-our-generative-ai-tool?cid=soc-web" TargetMode="Externa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16.xml"/><Relationship Id="rId1" Type="http://schemas.openxmlformats.org/officeDocument/2006/relationships/tags" Target="../tags/tag92.xml"/><Relationship Id="rId6" Type="http://schemas.openxmlformats.org/officeDocument/2006/relationships/hyperlink" Target="https://www.ciodive.com/news/PwC-generative-AI-investment-upskilling-ChatPwC/690820/" TargetMode="Externa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16.xml"/><Relationship Id="rId1" Type="http://schemas.openxmlformats.org/officeDocument/2006/relationships/tags" Target="../tags/tag93.xml"/><Relationship Id="rId6" Type="http://schemas.openxmlformats.org/officeDocument/2006/relationships/hyperlink" Target="https://www.ericsson.com/en/blog/2023/8/applied-generative-ai-for-enterprise" TargetMode="External"/><Relationship Id="rId5" Type="http://schemas.openxmlformats.org/officeDocument/2006/relationships/image" Target="../media/image3.emf"/><Relationship Id="rId4" Type="http://schemas.openxmlformats.org/officeDocument/2006/relationships/oleObject" Target="../embeddings/oleObject80.bin"/></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16.xml"/><Relationship Id="rId1" Type="http://schemas.openxmlformats.org/officeDocument/2006/relationships/tags" Target="../tags/tag94.xml"/><Relationship Id="rId6" Type="http://schemas.openxmlformats.org/officeDocument/2006/relationships/hyperlink" Target="https://www.forbes.com/sites/tomdavenport/2023/03/20/how-morgan-stanley-is-training-gpt-to-help-financial-advisors/?sh=5a39bfb63fc3" TargetMode="External"/><Relationship Id="rId5" Type="http://schemas.openxmlformats.org/officeDocument/2006/relationships/image" Target="../media/image3.emf"/><Relationship Id="rId4" Type="http://schemas.openxmlformats.org/officeDocument/2006/relationships/oleObject" Target="../embeddings/oleObject81.bin"/></Relationships>
</file>

<file path=ppt/slides/_rels/slide116.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16.xml"/><Relationship Id="rId1" Type="http://schemas.openxmlformats.org/officeDocument/2006/relationships/tags" Target="../tags/tag95.xml"/><Relationship Id="rId6" Type="http://schemas.openxmlformats.org/officeDocument/2006/relationships/hyperlink" Target="https://www.ericsson.com/en/blog/2023/8/applied-generative-ai-for-enterprise" TargetMode="External"/><Relationship Id="rId5" Type="http://schemas.openxmlformats.org/officeDocument/2006/relationships/image" Target="../media/image3.emf"/><Relationship Id="rId4" Type="http://schemas.openxmlformats.org/officeDocument/2006/relationships/oleObject" Target="../embeddings/oleObject4.bin"/></Relationships>
</file>

<file path=ppt/slides/_rels/slide118.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16.xml"/><Relationship Id="rId1" Type="http://schemas.openxmlformats.org/officeDocument/2006/relationships/tags" Target="../tags/tag96.xml"/><Relationship Id="rId6" Type="http://schemas.openxmlformats.org/officeDocument/2006/relationships/hyperlink" Target="https://consumergoods.com/hanesbrands-leveraging-gen-ai-supply-chain-optimization-efforts" TargetMode="External"/><Relationship Id="rId5" Type="http://schemas.openxmlformats.org/officeDocument/2006/relationships/image" Target="../media/image3.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6.xml"/><Relationship Id="rId1" Type="http://schemas.openxmlformats.org/officeDocument/2006/relationships/tags" Target="../tags/tag7.xml"/><Relationship Id="rId6" Type="http://schemas.openxmlformats.org/officeDocument/2006/relationships/hyperlink" Target="https://www.smartwriter.ai/case-studies/how-we-used-the-smartwriter-outreach-tool-to-transform-our-business-interactions?_sm_nck=1" TargetMode="External"/><Relationship Id="rId5" Type="http://schemas.openxmlformats.org/officeDocument/2006/relationships/image" Target="../media/image3.emf"/><Relationship Id="rId4" Type="http://schemas.openxmlformats.org/officeDocument/2006/relationships/oleObject" Target="../embeddings/oleObject6.bin"/></Relationships>
</file>

<file path=ppt/slides/_rels/slide120.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16.xml"/><Relationship Id="rId1" Type="http://schemas.openxmlformats.org/officeDocument/2006/relationships/tags" Target="../tags/tag97.xml"/><Relationship Id="rId6" Type="http://schemas.openxmlformats.org/officeDocument/2006/relationships/hyperlink" Target="https://www.americanbanker.com/news/jpmorgan-chase-using-chatgpt-like-large-language-models-to-detect-fraud" TargetMode="External"/><Relationship Id="rId5" Type="http://schemas.openxmlformats.org/officeDocument/2006/relationships/image" Target="../media/image3.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6.xml"/><Relationship Id="rId1" Type="http://schemas.openxmlformats.org/officeDocument/2006/relationships/tags" Target="../tags/tag8.xml"/><Relationship Id="rId6" Type="http://schemas.openxmlformats.org/officeDocument/2006/relationships/hyperlink" Target="https://www.beautiful.ai/customers/phoenix-suns" TargetMode="External"/><Relationship Id="rId5" Type="http://schemas.openxmlformats.org/officeDocument/2006/relationships/image" Target="../media/image3.emf"/><Relationship Id="rId4" Type="http://schemas.openxmlformats.org/officeDocument/2006/relationships/oleObject" Target="../embeddings/oleObject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6.xml"/><Relationship Id="rId1" Type="http://schemas.openxmlformats.org/officeDocument/2006/relationships/tags" Target="../tags/tag9.xml"/><Relationship Id="rId6" Type="http://schemas.openxmlformats.org/officeDocument/2006/relationships/hyperlink" Target="https://www.tietoevry.com/en/success-stories/2023/generative-ai-transforming-how-a-retailer-produces-thousands-of-product-information-descriptions/" TargetMode="External"/><Relationship Id="rId5" Type="http://schemas.openxmlformats.org/officeDocument/2006/relationships/image" Target="../media/image3.emf"/><Relationship Id="rId4" Type="http://schemas.openxmlformats.org/officeDocument/2006/relationships/oleObject" Target="../embeddings/oleObject8.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6.xml"/><Relationship Id="rId1" Type="http://schemas.openxmlformats.org/officeDocument/2006/relationships/tags" Target="../tags/tag10.xml"/><Relationship Id="rId6" Type="http://schemas.openxmlformats.org/officeDocument/2006/relationships/hyperlink" Target="https://dasha.ai/en-us/blog/pay-per-call-and-generative-ai-the-winning-combination-for-travel-businesses" TargetMode="External"/><Relationship Id="rId5" Type="http://schemas.openxmlformats.org/officeDocument/2006/relationships/image" Target="../media/image3.emf"/><Relationship Id="rId4" Type="http://schemas.openxmlformats.org/officeDocument/2006/relationships/oleObject" Target="../embeddings/oleObject9.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6.xml"/><Relationship Id="rId1" Type="http://schemas.openxmlformats.org/officeDocument/2006/relationships/tags" Target="../tags/tag11.xml"/><Relationship Id="rId6" Type="http://schemas.openxmlformats.org/officeDocument/2006/relationships/hyperlink" Target="https://www.rephrase.ai/case-studies/notjustacadburyad-shahrukh-khan" TargetMode="Externa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6.xml"/><Relationship Id="rId1" Type="http://schemas.openxmlformats.org/officeDocument/2006/relationships/tags" Target="../tags/tag12.xml"/><Relationship Id="rId6" Type="http://schemas.openxmlformats.org/officeDocument/2006/relationships/hyperlink" Target="https://www.coca-colacompany.com/media-center/coca-cola-invites-digital-artists-to-create-real-magic-using-new-ai-platform" TargetMode="Externa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6.xml"/><Relationship Id="rId1" Type="http://schemas.openxmlformats.org/officeDocument/2006/relationships/tags" Target="../tags/tag13.xml"/><Relationship Id="rId6" Type="http://schemas.openxmlformats.org/officeDocument/2006/relationships/hyperlink" Target="https://www.smartwriter.ai/case-studies/ecommhype-40-increase-in-response-rate-with-smartwriter"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6.xml"/><Relationship Id="rId1" Type="http://schemas.openxmlformats.org/officeDocument/2006/relationships/tags" Target="../tags/tag14.xml"/><Relationship Id="rId6" Type="http://schemas.openxmlformats.org/officeDocument/2006/relationships/hyperlink" Target="https://www.jasper.ai/case-studies/mongoose-media" TargetMode="External"/><Relationship Id="rId5" Type="http://schemas.openxmlformats.org/officeDocument/2006/relationships/image" Target="../media/image3.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6.xml"/><Relationship Id="rId1" Type="http://schemas.openxmlformats.org/officeDocument/2006/relationships/tags" Target="../tags/tag15.xml"/><Relationship Id="rId6" Type="http://schemas.openxmlformats.org/officeDocument/2006/relationships/hyperlink" Target="https://www.marketingaiinstitute.com/blog/how-ebay-uses-artificial-intelligence-for-copywriting" TargetMode="External"/><Relationship Id="rId5" Type="http://schemas.openxmlformats.org/officeDocument/2006/relationships/image" Target="../media/image3.emf"/><Relationship Id="rId4" Type="http://schemas.openxmlformats.org/officeDocument/2006/relationships/oleObject" Target="../embeddings/oleObject14.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6.xml"/><Relationship Id="rId1" Type="http://schemas.openxmlformats.org/officeDocument/2006/relationships/tags" Target="../tags/tag16.xml"/><Relationship Id="rId6" Type="http://schemas.openxmlformats.org/officeDocument/2006/relationships/hyperlink" Target="https://phrasee.co/resources/novo-nordisk-delivers-diabetes-care-with-ai-content/" TargetMode="Externa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hyperlink" Target="https://medium.com/@colossyan/corporate-case-study-bdo-3e860a23df46" TargetMode="External"/><Relationship Id="rId2" Type="http://schemas.openxmlformats.org/officeDocument/2006/relationships/slideLayout" Target="../slideLayouts/slideLayout16.xml"/><Relationship Id="rId1" Type="http://schemas.openxmlformats.org/officeDocument/2006/relationships/tags" Target="../tags/tag17.xml"/><Relationship Id="rId6" Type="http://schemas.openxmlformats.org/officeDocument/2006/relationships/hyperlink" Target="https://www.colossyan.com/posts/corporate-study-case-bdo?66a708a3_page=2" TargetMode="Externa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6.xml"/><Relationship Id="rId1" Type="http://schemas.openxmlformats.org/officeDocument/2006/relationships/tags" Target="../tags/tag18.xml"/><Relationship Id="rId6" Type="http://schemas.openxmlformats.org/officeDocument/2006/relationships/hyperlink" Target="https://www.width.ai/post/ai-marketing-copy-generator" TargetMode="Externa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6.xml"/><Relationship Id="rId1" Type="http://schemas.openxmlformats.org/officeDocument/2006/relationships/tags" Target="../tags/tag19.xml"/><Relationship Id="rId6" Type="http://schemas.openxmlformats.org/officeDocument/2006/relationships/hyperlink" Target="https://www.maersk.com/news/articles/2023/03/14/the-ai-chatbot-chatgpt-is-a-game-changer#:~:text=How%20is%20Maersk%20using%20ChatGPT,increase%20traffic%20to%20the%20website" TargetMode="Externa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hyperlink" Target="https://www.maersk.com/news/articles/2023/03/14/the-ai-chatbot-chatgpt-is-a-game-changer#:~:text=How%20is%20Maersk%20using%20ChatGPT,increase%20traffic%20to%20the%20website" TargetMode="External"/><Relationship Id="rId2" Type="http://schemas.openxmlformats.org/officeDocument/2006/relationships/slideLayout" Target="../slideLayouts/slideLayout16.xml"/><Relationship Id="rId1" Type="http://schemas.openxmlformats.org/officeDocument/2006/relationships/tags" Target="../tags/tag20.xml"/><Relationship Id="rId6" Type="http://schemas.openxmlformats.org/officeDocument/2006/relationships/hyperlink" Target="https://www.peppercontent.io/blog/how-pepper-scaled-creds-product-listings-that-drove-app-conversion/" TargetMode="Externa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6.xml"/><Relationship Id="rId1" Type="http://schemas.openxmlformats.org/officeDocument/2006/relationships/tags" Target="../tags/tag21.xml"/><Relationship Id="rId6" Type="http://schemas.openxmlformats.org/officeDocument/2006/relationships/hyperlink" Target="https://www.peppercontent.io/blog/how-kohbee-increased-its-user-base-by-53/" TargetMode="External"/><Relationship Id="rId5" Type="http://schemas.openxmlformats.org/officeDocument/2006/relationships/image" Target="../media/image3.emf"/><Relationship Id="rId4" Type="http://schemas.openxmlformats.org/officeDocument/2006/relationships/oleObject" Target="../embeddings/oleObject20.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6.xml"/><Relationship Id="rId1" Type="http://schemas.openxmlformats.org/officeDocument/2006/relationships/tags" Target="../tags/tag22.xml"/><Relationship Id="rId6" Type="http://schemas.openxmlformats.org/officeDocument/2006/relationships/hyperlink" Target="https://www.prnewswire.com/news-releases/ge-appliances-helps-consumers-create-personalized-recipes-from-the-food-in-their-kitchen-with-google-clouds-generative-ai-301912127.html" TargetMode="External"/><Relationship Id="rId5" Type="http://schemas.openxmlformats.org/officeDocument/2006/relationships/image" Target="../media/image3.emf"/><Relationship Id="rId4" Type="http://schemas.openxmlformats.org/officeDocument/2006/relationships/oleObject" Target="../embeddings/oleObject2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6.xml"/><Relationship Id="rId1" Type="http://schemas.openxmlformats.org/officeDocument/2006/relationships/tags" Target="../tags/tag23.xml"/><Relationship Id="rId6" Type="http://schemas.openxmlformats.org/officeDocument/2006/relationships/hyperlink" Target="https://www.marketingdive.com/news/pg-marc-pritchard-ai-algorithm-marketing-media-efficiency/642986/" TargetMode="External"/><Relationship Id="rId5" Type="http://schemas.openxmlformats.org/officeDocument/2006/relationships/image" Target="../media/image3.emf"/><Relationship Id="rId4" Type="http://schemas.openxmlformats.org/officeDocument/2006/relationships/oleObject" Target="../embeddings/oleObject22.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hyperlink" Target="https://www.itprotoday.com/artificial-intelligence/stitch-fix-uses-ai-generated-text-dress-product-descriptions#close-modal" TargetMode="External"/><Relationship Id="rId2" Type="http://schemas.openxmlformats.org/officeDocument/2006/relationships/slideLayout" Target="../slideLayouts/slideLayout16.xml"/><Relationship Id="rId1" Type="http://schemas.openxmlformats.org/officeDocument/2006/relationships/tags" Target="../tags/tag24.xml"/><Relationship Id="rId6" Type="http://schemas.openxmlformats.org/officeDocument/2006/relationships/hyperlink" Target="https://newsroom.stitchfix.com/blog/how-were-revolutionizing-personal-styling-with-generative-ai/" TargetMode="Externa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8" Type="http://schemas.openxmlformats.org/officeDocument/2006/relationships/slide" Target="slide53.xml"/><Relationship Id="rId13" Type="http://schemas.openxmlformats.org/officeDocument/2006/relationships/slide" Target="slide77.xml"/><Relationship Id="rId18" Type="http://schemas.openxmlformats.org/officeDocument/2006/relationships/slide" Target="slide105.xml"/><Relationship Id="rId3" Type="http://schemas.openxmlformats.org/officeDocument/2006/relationships/slide" Target="slide10.xml"/><Relationship Id="rId21" Type="http://schemas.openxmlformats.org/officeDocument/2006/relationships/slide" Target="slide118.xml"/><Relationship Id="rId7" Type="http://schemas.openxmlformats.org/officeDocument/2006/relationships/slide" Target="slide51.xml"/><Relationship Id="rId12" Type="http://schemas.openxmlformats.org/officeDocument/2006/relationships/slide" Target="slide69.xml"/><Relationship Id="rId17" Type="http://schemas.openxmlformats.org/officeDocument/2006/relationships/slide" Target="slide95.xml"/><Relationship Id="rId2" Type="http://schemas.openxmlformats.org/officeDocument/2006/relationships/slide" Target="slide4.xml"/><Relationship Id="rId16" Type="http://schemas.openxmlformats.org/officeDocument/2006/relationships/slide" Target="slide84.xml"/><Relationship Id="rId20" Type="http://schemas.openxmlformats.org/officeDocument/2006/relationships/slide" Target="slide116.xml"/><Relationship Id="rId1" Type="http://schemas.openxmlformats.org/officeDocument/2006/relationships/slideLayout" Target="../slideLayouts/slideLayout7.xml"/><Relationship Id="rId6" Type="http://schemas.openxmlformats.org/officeDocument/2006/relationships/slide" Target="slide41.xml"/><Relationship Id="rId11" Type="http://schemas.openxmlformats.org/officeDocument/2006/relationships/slide" Target="slide64.xml"/><Relationship Id="rId5" Type="http://schemas.openxmlformats.org/officeDocument/2006/relationships/slide" Target="slide39.xml"/><Relationship Id="rId15" Type="http://schemas.openxmlformats.org/officeDocument/2006/relationships/slide" Target="slide82.xml"/><Relationship Id="rId10" Type="http://schemas.openxmlformats.org/officeDocument/2006/relationships/slide" Target="slide60.xml"/><Relationship Id="rId19" Type="http://schemas.openxmlformats.org/officeDocument/2006/relationships/slide" Target="slide111.xml"/><Relationship Id="rId4" Type="http://schemas.openxmlformats.org/officeDocument/2006/relationships/slide" Target="slide31.xml"/><Relationship Id="rId9" Type="http://schemas.openxmlformats.org/officeDocument/2006/relationships/slide" Target="slide56.xml"/><Relationship Id="rId14" Type="http://schemas.openxmlformats.org/officeDocument/2006/relationships/slide" Target="slide80.xml"/><Relationship Id="rId22" Type="http://schemas.openxmlformats.org/officeDocument/2006/relationships/slide" Target="slide120.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6.xml"/><Relationship Id="rId1" Type="http://schemas.openxmlformats.org/officeDocument/2006/relationships/tags" Target="../tags/tag25.xml"/><Relationship Id="rId6" Type="http://schemas.openxmlformats.org/officeDocument/2006/relationships/hyperlink" Target="https://www.carrefour.com/en/news/2023/carrefour-integrates-openai-technologies-and-launches-generative-ai-powered-shopping" TargetMode="External"/><Relationship Id="rId5" Type="http://schemas.openxmlformats.org/officeDocument/2006/relationships/image" Target="../media/image3.emf"/><Relationship Id="rId4" Type="http://schemas.openxmlformats.org/officeDocument/2006/relationships/oleObject" Target="../embeddings/oleObject4.bin"/></Relationships>
</file>

<file path=ppt/slides/_rels/slide31.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6.xml"/><Relationship Id="rId1" Type="http://schemas.openxmlformats.org/officeDocument/2006/relationships/tags" Target="../tags/tag26.xml"/><Relationship Id="rId6" Type="http://schemas.openxmlformats.org/officeDocument/2006/relationships/hyperlink" Target="https://pressroom.toyota.com/toyota-research-institute-unveils-new-generative-ai-technique-for-vehicle-design/" TargetMode="Externa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6.xml"/><Relationship Id="rId1" Type="http://schemas.openxmlformats.org/officeDocument/2006/relationships/tags" Target="../tags/tag27.xml"/><Relationship Id="rId6" Type="http://schemas.openxmlformats.org/officeDocument/2006/relationships/hyperlink" Target="https://www.theverge.com/2023/3/27/23658385/levis-ai-generated-clothing-model-diversity-denim" TargetMode="Externa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6.xml"/><Relationship Id="rId1" Type="http://schemas.openxmlformats.org/officeDocument/2006/relationships/tags" Target="../tags/tag28.xml"/><Relationship Id="rId6" Type="http://schemas.openxmlformats.org/officeDocument/2006/relationships/hyperlink" Target="https://news.microsoft.com/source/features/ai/from-hot-wheels-to-handling-content-how-brands-are-using-microsoft-ai-to-be-more-productive-and-imaginative/" TargetMode="External"/><Relationship Id="rId5" Type="http://schemas.openxmlformats.org/officeDocument/2006/relationships/image" Target="../media/image3.emf"/><Relationship Id="rId4" Type="http://schemas.openxmlformats.org/officeDocument/2006/relationships/oleObject" Target="../embeddings/oleObject26.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6.xml"/><Relationship Id="rId1" Type="http://schemas.openxmlformats.org/officeDocument/2006/relationships/tags" Target="../tags/tag29.xml"/><Relationship Id="rId6" Type="http://schemas.openxmlformats.org/officeDocument/2006/relationships/hyperlink" Target="https://www.sportspromedia.com/news/fox-sports-google-cloud-gen-ai-tech-media-asset/" TargetMode="External"/><Relationship Id="rId5" Type="http://schemas.openxmlformats.org/officeDocument/2006/relationships/image" Target="../media/image3.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hyperlink" Target="https://www.forbes.com/sites/bernardmarr/2023/07/25/the-future-of-manufacturing-generative-ai-and-beyond/?sh=6d11b77a51fa" TargetMode="External"/><Relationship Id="rId2" Type="http://schemas.openxmlformats.org/officeDocument/2006/relationships/slideLayout" Target="../slideLayouts/slideLayout16.xml"/><Relationship Id="rId1" Type="http://schemas.openxmlformats.org/officeDocument/2006/relationships/tags" Target="../tags/tag30.xml"/><Relationship Id="rId6" Type="http://schemas.openxmlformats.org/officeDocument/2006/relationships/hyperlink" Target="https://news.gm.com/newsroom.detail.html/Pages/news/us/en/2018/may/0503-lightweighting.html" TargetMode="Externa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6.xml"/><Relationship Id="rId1" Type="http://schemas.openxmlformats.org/officeDocument/2006/relationships/tags" Target="../tags/tag31.xml"/><Relationship Id="rId6" Type="http://schemas.openxmlformats.org/officeDocument/2006/relationships/hyperlink" Target="https://www.convenience.org/Media/Daily/2023/November/7/1-7Eleven-Japan-AI-New-Products_Tech" TargetMode="External"/><Relationship Id="rId5" Type="http://schemas.openxmlformats.org/officeDocument/2006/relationships/image" Target="../media/image3.emf"/><Relationship Id="rId4" Type="http://schemas.openxmlformats.org/officeDocument/2006/relationships/oleObject" Target="../embeddings/oleObject4.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6.xml"/><Relationship Id="rId1" Type="http://schemas.openxmlformats.org/officeDocument/2006/relationships/tags" Target="../tags/tag32.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39.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6.xml"/><Relationship Id="rId1" Type="http://schemas.openxmlformats.org/officeDocument/2006/relationships/tags" Target="../tags/tag33.xml"/><Relationship Id="rId6" Type="http://schemas.openxmlformats.org/officeDocument/2006/relationships/hyperlink" Target="https://26148194.fs1.hubspotusercontent-eu1.net/hubfs/26148194/Syntheticus_Banking%20and%20Finance%20Case%20Study_SIX.pdf" TargetMode="Externa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41.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6.xml"/><Relationship Id="rId1" Type="http://schemas.openxmlformats.org/officeDocument/2006/relationships/tags" Target="../tags/tag34.xml"/><Relationship Id="rId6" Type="http://schemas.openxmlformats.org/officeDocument/2006/relationships/hyperlink" Target="https://www.synthesia.io/case-studies/bosch" TargetMode="External"/><Relationship Id="rId5" Type="http://schemas.openxmlformats.org/officeDocument/2006/relationships/image" Target="../media/image3.emf"/><Relationship Id="rId4" Type="http://schemas.openxmlformats.org/officeDocument/2006/relationships/oleObject" Target="../embeddings/oleObject30.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6.xml"/><Relationship Id="rId1" Type="http://schemas.openxmlformats.org/officeDocument/2006/relationships/tags" Target="../tags/tag35.xml"/><Relationship Id="rId6" Type="http://schemas.openxmlformats.org/officeDocument/2006/relationships/hyperlink" Target="https://www.rephrase.ai/case-studies/the-ultimate-diwali-greeting" TargetMode="External"/><Relationship Id="rId5" Type="http://schemas.openxmlformats.org/officeDocument/2006/relationships/image" Target="../media/image3.emf"/><Relationship Id="rId4" Type="http://schemas.openxmlformats.org/officeDocument/2006/relationships/oleObject" Target="../embeddings/oleObject31.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6.xml"/><Relationship Id="rId1" Type="http://schemas.openxmlformats.org/officeDocument/2006/relationships/tags" Target="../tags/tag36.xml"/><Relationship Id="rId6" Type="http://schemas.openxmlformats.org/officeDocument/2006/relationships/hyperlink" Target="https://content.lumen5.com/swissre" TargetMode="External"/><Relationship Id="rId5" Type="http://schemas.openxmlformats.org/officeDocument/2006/relationships/image" Target="../media/image3.emf"/><Relationship Id="rId4" Type="http://schemas.openxmlformats.org/officeDocument/2006/relationships/oleObject" Target="../embeddings/oleObject32.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6.xml"/><Relationship Id="rId1" Type="http://schemas.openxmlformats.org/officeDocument/2006/relationships/tags" Target="../tags/tag37.xml"/><Relationship Id="rId6" Type="http://schemas.openxmlformats.org/officeDocument/2006/relationships/hyperlink" Target="https://www.synthesia.io/case-studies/bestseller" TargetMode="Externa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6.xml"/><Relationship Id="rId1" Type="http://schemas.openxmlformats.org/officeDocument/2006/relationships/tags" Target="../tags/tag38.xml"/><Relationship Id="rId6" Type="http://schemas.openxmlformats.org/officeDocument/2006/relationships/hyperlink" Target="https://hourone.ai/case-studies/alice/" TargetMode="Externa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6.xml"/><Relationship Id="rId1" Type="http://schemas.openxmlformats.org/officeDocument/2006/relationships/tags" Target="../tags/tag39.xml"/><Relationship Id="rId6" Type="http://schemas.openxmlformats.org/officeDocument/2006/relationships/hyperlink" Target="https://hourone.ai/case-studies/defiance/" TargetMode="External"/><Relationship Id="rId5" Type="http://schemas.openxmlformats.org/officeDocument/2006/relationships/image" Target="../media/image3.emf"/><Relationship Id="rId4" Type="http://schemas.openxmlformats.org/officeDocument/2006/relationships/oleObject" Target="../embeddings/oleObject35.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6.xml"/><Relationship Id="rId1" Type="http://schemas.openxmlformats.org/officeDocument/2006/relationships/tags" Target="../tags/tag40.xml"/><Relationship Id="rId6" Type="http://schemas.openxmlformats.org/officeDocument/2006/relationships/hyperlink" Target="https://www.heygen.com/case-studies/how-uniform-used-ai-to-build-a-video-marketing-strategy" TargetMode="External"/><Relationship Id="rId5" Type="http://schemas.openxmlformats.org/officeDocument/2006/relationships/image" Target="../media/image3.emf"/><Relationship Id="rId4" Type="http://schemas.openxmlformats.org/officeDocument/2006/relationships/oleObject" Target="../embeddings/oleObject36.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6.xml"/><Relationship Id="rId1" Type="http://schemas.openxmlformats.org/officeDocument/2006/relationships/tags" Target="../tags/tag41.xml"/><Relationship Id="rId6" Type="http://schemas.openxmlformats.org/officeDocument/2006/relationships/hyperlink" Target="https://www.heygen.com/case-studies/real-estate-jesse-lucero" TargetMode="External"/><Relationship Id="rId5" Type="http://schemas.openxmlformats.org/officeDocument/2006/relationships/image" Target="../media/image3.emf"/><Relationship Id="rId4" Type="http://schemas.openxmlformats.org/officeDocument/2006/relationships/oleObject" Target="../embeddings/oleObject3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1.xml"/><Relationship Id="rId6" Type="http://schemas.openxmlformats.org/officeDocument/2006/relationships/hyperlink" Target="https://github.com/customer-stories/duolingo" TargetMode="External"/><Relationship Id="rId5" Type="http://schemas.openxmlformats.org/officeDocument/2006/relationships/image" Target="../media/image3.emf"/><Relationship Id="rId4" Type="http://schemas.openxmlformats.org/officeDocument/2006/relationships/oleObject" Target="../embeddings/oleObject1.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6.xml"/><Relationship Id="rId1" Type="http://schemas.openxmlformats.org/officeDocument/2006/relationships/tags" Target="../tags/tag42.xml"/><Relationship Id="rId6" Type="http://schemas.openxmlformats.org/officeDocument/2006/relationships/hyperlink" Target="https://www.synthesia.io/post/snoop-dogg" TargetMode="External"/><Relationship Id="rId5" Type="http://schemas.openxmlformats.org/officeDocument/2006/relationships/image" Target="../media/image3.emf"/><Relationship Id="rId4" Type="http://schemas.openxmlformats.org/officeDocument/2006/relationships/oleObject" Target="../embeddings/oleObject38.bin"/></Relationships>
</file>

<file path=ppt/slides/_rels/slide51.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6.xml"/><Relationship Id="rId1" Type="http://schemas.openxmlformats.org/officeDocument/2006/relationships/tags" Target="../tags/tag43.xml"/><Relationship Id="rId6" Type="http://schemas.openxmlformats.org/officeDocument/2006/relationships/hyperlink" Target="https://wellsaidlabs.com/blog/case-study-snowflake-transforms-voiceover-creation/" TargetMode="External"/><Relationship Id="rId5" Type="http://schemas.openxmlformats.org/officeDocument/2006/relationships/image" Target="../media/image3.emf"/><Relationship Id="rId4" Type="http://schemas.openxmlformats.org/officeDocument/2006/relationships/oleObject" Target="../embeddings/oleObject39.bin"/></Relationships>
</file>

<file path=ppt/slides/_rels/slide53.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hyperlink" Target="https://www.absci.com/absci-achieves-a-breakthrough-in-ai-drug-creation/" TargetMode="External"/><Relationship Id="rId2" Type="http://schemas.openxmlformats.org/officeDocument/2006/relationships/slideLayout" Target="../slideLayouts/slideLayout16.xml"/><Relationship Id="rId1" Type="http://schemas.openxmlformats.org/officeDocument/2006/relationships/tags" Target="../tags/tag44.xml"/><Relationship Id="rId6" Type="http://schemas.openxmlformats.org/officeDocument/2006/relationships/hyperlink" Target="https://investors.absci.com/news-releases/news-release-details/absci-first-create-and-validate-de-novo-antibodies-zero-shot" TargetMode="External"/><Relationship Id="rId5" Type="http://schemas.openxmlformats.org/officeDocument/2006/relationships/image" Target="../media/image3.emf"/><Relationship Id="rId4" Type="http://schemas.openxmlformats.org/officeDocument/2006/relationships/oleObject" Target="../embeddings/oleObject40.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hyperlink" Target="https://www.eurekalert.org/news-releases/993844" TargetMode="External"/><Relationship Id="rId2" Type="http://schemas.openxmlformats.org/officeDocument/2006/relationships/slideLayout" Target="../slideLayouts/slideLayout16.xml"/><Relationship Id="rId1" Type="http://schemas.openxmlformats.org/officeDocument/2006/relationships/tags" Target="../tags/tag45.xml"/><Relationship Id="rId6" Type="http://schemas.openxmlformats.org/officeDocument/2006/relationships/hyperlink" Target="https://www.prnewswire.com/apac/news-releases/first-drug-discovered-and-designed-with-generative-ai-enters-phase-ii-trials-with-first-patients-dosed-301862737.html" TargetMode="External"/><Relationship Id="rId5" Type="http://schemas.openxmlformats.org/officeDocument/2006/relationships/image" Target="../media/image3.emf"/><Relationship Id="rId4" Type="http://schemas.openxmlformats.org/officeDocument/2006/relationships/oleObject" Target="../embeddings/oleObject41.bin"/></Relationships>
</file>

<file path=ppt/slides/_rels/slide56.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8" Type="http://schemas.openxmlformats.org/officeDocument/2006/relationships/hyperlink" Target="https://arxiv.org/abs/2303.17564" TargetMode="External"/><Relationship Id="rId3" Type="http://schemas.openxmlformats.org/officeDocument/2006/relationships/notesSlide" Target="../notesSlides/notesSlide46.xml"/><Relationship Id="rId7" Type="http://schemas.openxmlformats.org/officeDocument/2006/relationships/hyperlink" Target="https://www.bloomberg.com/company/press/bloomberggpt-50-billion-parameter-llm-tuned-finance/,%20https:/arxiv.org/abs/2303.17564" TargetMode="External"/><Relationship Id="rId2" Type="http://schemas.openxmlformats.org/officeDocument/2006/relationships/slideLayout" Target="../slideLayouts/slideLayout16.xml"/><Relationship Id="rId1" Type="http://schemas.openxmlformats.org/officeDocument/2006/relationships/tags" Target="../tags/tag46.xml"/><Relationship Id="rId6" Type="http://schemas.openxmlformats.org/officeDocument/2006/relationships/hyperlink" Target="https://www.bloomberg.com/company/press/bloomberggpt-50-billion-parameter-llm-tuned-finance/#:~:text=BloombergGPT%20represents%20the%20first%20step,and%20question%20answering%2C%20among%20others" TargetMode="External"/><Relationship Id="rId5" Type="http://schemas.openxmlformats.org/officeDocument/2006/relationships/image" Target="../media/image3.emf"/><Relationship Id="rId4" Type="http://schemas.openxmlformats.org/officeDocument/2006/relationships/oleObject" Target="../embeddings/oleObject42.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6.xml"/><Relationship Id="rId1" Type="http://schemas.openxmlformats.org/officeDocument/2006/relationships/tags" Target="../tags/tag47.xml"/><Relationship Id="rId6" Type="http://schemas.openxmlformats.org/officeDocument/2006/relationships/hyperlink" Target="https://news.microsoft.com/2023/06/29/moodys-and-microsoft-develop-enhanced-risk-data-analytics-research-and-collaboration-solutions-powered-by-generative-ai/" TargetMode="Externa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6.xml"/><Relationship Id="rId1" Type="http://schemas.openxmlformats.org/officeDocument/2006/relationships/tags" Target="../tags/tag48.xml"/><Relationship Id="rId6" Type="http://schemas.openxmlformats.org/officeDocument/2006/relationships/hyperlink" Target="https://www.forbes.com/sites/tomdavenport/2023/06/26/fast-cheap-and-in-control-generative-ai-in-morningstars-mo/?sh=17575cc116ae" TargetMode="External"/><Relationship Id="rId5" Type="http://schemas.openxmlformats.org/officeDocument/2006/relationships/image" Target="../media/image3.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2.xml"/><Relationship Id="rId6" Type="http://schemas.openxmlformats.org/officeDocument/2006/relationships/hyperlink" Target="https://github.com/customer-stories/coyote-logistics" TargetMode="External"/><Relationship Id="rId5" Type="http://schemas.openxmlformats.org/officeDocument/2006/relationships/image" Target="../media/image3.emf"/><Relationship Id="rId4" Type="http://schemas.openxmlformats.org/officeDocument/2006/relationships/oleObject" Target="../embeddings/oleObject2.bin"/></Relationships>
</file>

<file path=ppt/slides/_rels/slide60.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6.xml"/><Relationship Id="rId1" Type="http://schemas.openxmlformats.org/officeDocument/2006/relationships/tags" Target="../tags/tag49.xml"/><Relationship Id="rId6" Type="http://schemas.openxmlformats.org/officeDocument/2006/relationships/hyperlink" Target="https://www.autodesk.com/products/fusion-360/blog/pix-moving-generative-design-fusion-360/" TargetMode="Externa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62.xml.rels><?xml version="1.0" encoding="UTF-8" standalone="yes"?>
<Relationships xmlns="http://schemas.openxmlformats.org/package/2006/relationships"><Relationship Id="rId8" Type="http://schemas.openxmlformats.org/officeDocument/2006/relationships/hyperlink" Target="https://zapata.ai/bmw-generative-ai-case-study/" TargetMode="External"/><Relationship Id="rId3" Type="http://schemas.openxmlformats.org/officeDocument/2006/relationships/notesSlide" Target="../notesSlides/notesSlide50.xml"/><Relationship Id="rId7" Type="http://schemas.openxmlformats.org/officeDocument/2006/relationships/hyperlink" Target="https://zapata.ai/publications/quantum-inspired-optimization-for-industrial-scale-problems/" TargetMode="External"/><Relationship Id="rId2" Type="http://schemas.openxmlformats.org/officeDocument/2006/relationships/slideLayout" Target="../slideLayouts/slideLayout16.xml"/><Relationship Id="rId1" Type="http://schemas.openxmlformats.org/officeDocument/2006/relationships/tags" Target="../tags/tag50.xml"/><Relationship Id="rId6" Type="http://schemas.openxmlformats.org/officeDocument/2006/relationships/hyperlink" Target="https://zapata.ai/news/bmw-optimizes-vehicle-production-planning-using-quantum-inspired-generative-ai-techniques/" TargetMode="External"/><Relationship Id="rId5" Type="http://schemas.openxmlformats.org/officeDocument/2006/relationships/image" Target="../media/image3.emf"/><Relationship Id="rId4" Type="http://schemas.openxmlformats.org/officeDocument/2006/relationships/oleObject" Target="../embeddings/oleObject45.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6.xml"/><Relationship Id="rId1" Type="http://schemas.openxmlformats.org/officeDocument/2006/relationships/tags" Target="../tags/tag51.xml"/><Relationship Id="rId6" Type="http://schemas.openxmlformats.org/officeDocument/2006/relationships/hyperlink" Target="https://sourceability.com/post/samsung-plans-to-use-ai-to-improve-its-chip-design-and-production-processes-to-better-compete-with-tsmc" TargetMode="External"/><Relationship Id="rId5" Type="http://schemas.openxmlformats.org/officeDocument/2006/relationships/image" Target="../media/image3.emf"/><Relationship Id="rId4" Type="http://schemas.openxmlformats.org/officeDocument/2006/relationships/oleObject" Target="../embeddings/oleObject46.bin"/></Relationships>
</file>

<file path=ppt/slides/_rels/slide64.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6.xml"/><Relationship Id="rId1" Type="http://schemas.openxmlformats.org/officeDocument/2006/relationships/tags" Target="../tags/tag52.xml"/><Relationship Id="rId6" Type="http://schemas.openxmlformats.org/officeDocument/2006/relationships/hyperlink" Target="https://digiday.com/media-buying/profitero-debuts-new-gpt-powered-chatbot-to-analyze-e-commerce-data/" TargetMode="External"/><Relationship Id="rId5" Type="http://schemas.openxmlformats.org/officeDocument/2006/relationships/image" Target="../media/image3.emf"/><Relationship Id="rId4" Type="http://schemas.openxmlformats.org/officeDocument/2006/relationships/oleObject" Target="../embeddings/oleObject47.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6.xml"/><Relationship Id="rId1" Type="http://schemas.openxmlformats.org/officeDocument/2006/relationships/tags" Target="../tags/tag53.xml"/><Relationship Id="rId6" Type="http://schemas.openxmlformats.org/officeDocument/2006/relationships/hyperlink" Target="https://consumergoods.com/nestle-general-mills-cpw-join-ab-inbev-adopting-gpt-4-bi-assistant" TargetMode="Externa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hyperlink" Target="https://www.marketingdive.com/news/estee-lauder-generative-ai-Google-Cloud-Next/692133/" TargetMode="External"/><Relationship Id="rId2" Type="http://schemas.openxmlformats.org/officeDocument/2006/relationships/slideLayout" Target="../slideLayouts/slideLayout16.xml"/><Relationship Id="rId1" Type="http://schemas.openxmlformats.org/officeDocument/2006/relationships/tags" Target="../tags/tag54.xml"/><Relationship Id="rId6" Type="http://schemas.openxmlformats.org/officeDocument/2006/relationships/hyperlink" Target="https://www.prnewswire.com/news-releases/the-estee-lauder-companies-inc-and-google-cloud-partner-to-transform-the-online-consumer-experience-with-generative-ai-301912131.html" TargetMode="Externa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6.xml"/><Relationship Id="rId1" Type="http://schemas.openxmlformats.org/officeDocument/2006/relationships/tags" Target="../tags/tag55.xml"/><Relationship Id="rId6" Type="http://schemas.openxmlformats.org/officeDocument/2006/relationships/hyperlink" Target="https://diginomica.com/making-generative-ai-speak-retail-walmart-and-kroger-have-big-plans-llms" TargetMode="External"/><Relationship Id="rId5" Type="http://schemas.openxmlformats.org/officeDocument/2006/relationships/image" Target="../media/image3.emf"/><Relationship Id="rId4" Type="http://schemas.openxmlformats.org/officeDocument/2006/relationships/oleObject" Target="../embeddings/oleObject50.bin"/></Relationships>
</file>

<file path=ppt/slides/_rels/slide69.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6.xml"/><Relationship Id="rId1" Type="http://schemas.openxmlformats.org/officeDocument/2006/relationships/tags" Target="../tags/tag3.xml"/><Relationship Id="rId6" Type="http://schemas.openxmlformats.org/officeDocument/2006/relationships/hyperlink" Target="https://github.com/customer-stories/mercado-libre" TargetMode="External"/><Relationship Id="rId5" Type="http://schemas.openxmlformats.org/officeDocument/2006/relationships/image" Target="../media/image3.emf"/><Relationship Id="rId4" Type="http://schemas.openxmlformats.org/officeDocument/2006/relationships/oleObject" Target="../embeddings/oleObject3.bin"/></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hyperlink" Target="https://indiaai.gov.in/news/gpt-3-may-help-predict-alzheimer-s" TargetMode="External"/><Relationship Id="rId2" Type="http://schemas.openxmlformats.org/officeDocument/2006/relationships/slideLayout" Target="../slideLayouts/slideLayout16.xml"/><Relationship Id="rId1" Type="http://schemas.openxmlformats.org/officeDocument/2006/relationships/tags" Target="../tags/tag56.xml"/><Relationship Id="rId6" Type="http://schemas.openxmlformats.org/officeDocument/2006/relationships/hyperlink" Target="https://drexel.edu/news/archive/2022/December/GPT-3-alzheimers-disease" TargetMode="External"/><Relationship Id="rId5" Type="http://schemas.openxmlformats.org/officeDocument/2006/relationships/image" Target="../media/image3.emf"/><Relationship Id="rId4" Type="http://schemas.openxmlformats.org/officeDocument/2006/relationships/oleObject" Target="../embeddings/oleObject51.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6.xml"/><Relationship Id="rId1" Type="http://schemas.openxmlformats.org/officeDocument/2006/relationships/tags" Target="../tags/tag57.xml"/><Relationship Id="rId6" Type="http://schemas.openxmlformats.org/officeDocument/2006/relationships/hyperlink" Target="https://www.nextbigfuture.com/2023/04/nvidia-generative-ai-models-for-medical-imaging.html" TargetMode="External"/><Relationship Id="rId5" Type="http://schemas.openxmlformats.org/officeDocument/2006/relationships/image" Target="../media/image3.emf"/><Relationship Id="rId4" Type="http://schemas.openxmlformats.org/officeDocument/2006/relationships/oleObject" Target="../embeddings/oleObject52.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6.xml"/><Relationship Id="rId1" Type="http://schemas.openxmlformats.org/officeDocument/2006/relationships/tags" Target="../tags/tag58.xml"/><Relationship Id="rId6" Type="http://schemas.openxmlformats.org/officeDocument/2006/relationships/hyperlink" Target="https://www.omneky.com/case-studies/how-timeplast-raised-over-1-5m-in-capital-through-omnekys-ai-powered-advertising-solution" TargetMode="Externa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hyperlink" Target="https://www.prnewswire.com/news-releases/bayer-to-accelerate-drug-discovery-with-google-clouds-high-performance-compute-power-301719293.html" TargetMode="External"/><Relationship Id="rId2" Type="http://schemas.openxmlformats.org/officeDocument/2006/relationships/slideLayout" Target="../slideLayouts/slideLayout16.xml"/><Relationship Id="rId1" Type="http://schemas.openxmlformats.org/officeDocument/2006/relationships/tags" Target="../tags/tag59.xml"/><Relationship Id="rId6" Type="http://schemas.openxmlformats.org/officeDocument/2006/relationships/hyperlink" Target="https://www.forbes.com/sites/saibala/2023/09/04/bayer-is-rapidly-expanding-its-footprint-with-artificial-intelligence/?sh=305ab9a54df8" TargetMode="Externa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60.xml"/><Relationship Id="rId7" Type="http://schemas.openxmlformats.org/officeDocument/2006/relationships/hyperlink" Target="https://www.forbes.com/sites/saibala/2023/08/30/hca-one-of-the-largest-healthcare-organizations-in-the-world-is-deploying-generative-ai/?sh=3b1157df51dc" TargetMode="External"/><Relationship Id="rId2" Type="http://schemas.openxmlformats.org/officeDocument/2006/relationships/slideLayout" Target="../slideLayouts/slideLayout16.xml"/><Relationship Id="rId1" Type="http://schemas.openxmlformats.org/officeDocument/2006/relationships/tags" Target="../tags/tag60.xml"/><Relationship Id="rId6" Type="http://schemas.openxmlformats.org/officeDocument/2006/relationships/hyperlink" Target="https://investor.hcahealthcare.com/news/news-details/2023/HCA-Healthcare-Collaborates-With-Google-Cloud-to-Bring-Generative-AI-to-Hospitals/default.aspx" TargetMode="External"/><Relationship Id="rId5" Type="http://schemas.openxmlformats.org/officeDocument/2006/relationships/image" Target="../media/image3.emf"/><Relationship Id="rId4" Type="http://schemas.openxmlformats.org/officeDocument/2006/relationships/oleObject" Target="../embeddings/oleObject55.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4.png"/><Relationship Id="rId2" Type="http://schemas.openxmlformats.org/officeDocument/2006/relationships/slideLayout" Target="../slideLayouts/slideLayout16.xml"/><Relationship Id="rId1" Type="http://schemas.openxmlformats.org/officeDocument/2006/relationships/tags" Target="../tags/tag61.xml"/><Relationship Id="rId6" Type="http://schemas.openxmlformats.org/officeDocument/2006/relationships/hyperlink" Target="https://news.3m.com/2023-04-18-3M-Health-Information-Systems-collaborates-with-AWS-to-accelerate-AI-innovation-in-clinical-documentation" TargetMode="External"/><Relationship Id="rId5" Type="http://schemas.openxmlformats.org/officeDocument/2006/relationships/image" Target="../media/image3.emf"/><Relationship Id="rId4" Type="http://schemas.openxmlformats.org/officeDocument/2006/relationships/oleObject" Target="../embeddings/oleObject56.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16.xml"/><Relationship Id="rId1" Type="http://schemas.openxmlformats.org/officeDocument/2006/relationships/tags" Target="../tags/tag62.xml"/><Relationship Id="rId6" Type="http://schemas.openxmlformats.org/officeDocument/2006/relationships/hyperlink" Target="https://www.msci.com/documents/10199/1659a83e-ef20-6ddc-5b4f-1782900888b7" TargetMode="External"/><Relationship Id="rId5" Type="http://schemas.openxmlformats.org/officeDocument/2006/relationships/image" Target="../media/image3.emf"/><Relationship Id="rId4" Type="http://schemas.openxmlformats.org/officeDocument/2006/relationships/oleObject" Target="../embeddings/oleObject4.bin"/></Relationships>
</file>

<file path=ppt/slides/_rels/slide77.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78.xml.rels><?xml version="1.0" encoding="UTF-8" standalone="yes"?>
<Relationships xmlns="http://schemas.openxmlformats.org/package/2006/relationships"><Relationship Id="rId8" Type="http://schemas.openxmlformats.org/officeDocument/2006/relationships/hyperlink" Target="https://rickhuckstep.medium.com/duolingos-use-of-chatgpt-for-a-personalised-customer-experience-f099e26c0638#:~:text=Duolingo%20g%20enerated%20sales%20of,fun%20and%20accessible%20to%20everyone" TargetMode="External"/><Relationship Id="rId3" Type="http://schemas.openxmlformats.org/officeDocument/2006/relationships/notesSlide" Target="../notesSlides/notesSlide63.xml"/><Relationship Id="rId7" Type="http://schemas.openxmlformats.org/officeDocument/2006/relationships/hyperlink" Target="https://bernardmarr.com/the-amazing-ways-duolingo-is-using-ai-and-gpt-4/" TargetMode="External"/><Relationship Id="rId2" Type="http://schemas.openxmlformats.org/officeDocument/2006/relationships/slideLayout" Target="../slideLayouts/slideLayout16.xml"/><Relationship Id="rId1" Type="http://schemas.openxmlformats.org/officeDocument/2006/relationships/tags" Target="../tags/tag63.xml"/><Relationship Id="rId6" Type="http://schemas.openxmlformats.org/officeDocument/2006/relationships/hyperlink" Target="https://blog.duolingo.com/duolingo-max/" TargetMode="External"/><Relationship Id="rId5" Type="http://schemas.openxmlformats.org/officeDocument/2006/relationships/image" Target="../media/image3.emf"/><Relationship Id="rId4" Type="http://schemas.openxmlformats.org/officeDocument/2006/relationships/oleObject" Target="../embeddings/oleObject57.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16.xml"/><Relationship Id="rId1" Type="http://schemas.openxmlformats.org/officeDocument/2006/relationships/tags" Target="../tags/tag64.xml"/><Relationship Id="rId6" Type="http://schemas.openxmlformats.org/officeDocument/2006/relationships/hyperlink" Target="https://wonderfulengineering.com/khan-academy-is-working-on-a-version-of-gpt-called-khanmingo-to-help-you-with-homework/" TargetMode="Externa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6.xml"/><Relationship Id="rId1" Type="http://schemas.openxmlformats.org/officeDocument/2006/relationships/tags" Target="../tags/tag4.xml"/><Relationship Id="rId6" Type="http://schemas.openxmlformats.org/officeDocument/2006/relationships/hyperlink" Target="https://www.ericsson.com/en/blog/2023/8/applied-generative-ai-for-enterprise" TargetMode="External"/><Relationship Id="rId5" Type="http://schemas.openxmlformats.org/officeDocument/2006/relationships/image" Target="../media/image3.emf"/><Relationship Id="rId4" Type="http://schemas.openxmlformats.org/officeDocument/2006/relationships/oleObject" Target="../embeddings/oleObject4.bin"/></Relationships>
</file>

<file path=ppt/slides/_rels/slide80.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6.xml"/><Relationship Id="rId1" Type="http://schemas.openxmlformats.org/officeDocument/2006/relationships/tags" Target="../tags/tag65.xml"/><Relationship Id="rId6" Type="http://schemas.openxmlformats.org/officeDocument/2006/relationships/hyperlink" Target="https://www.jugalbandi.ai/" TargetMode="Externa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82.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6.xml"/><Relationship Id="rId1" Type="http://schemas.openxmlformats.org/officeDocument/2006/relationships/tags" Target="../tags/tag66.xml"/><Relationship Id="rId6" Type="http://schemas.openxmlformats.org/officeDocument/2006/relationships/hyperlink" Target="https://www.kayak.com/news/kayak-chatgpt/" TargetMode="External"/><Relationship Id="rId5" Type="http://schemas.openxmlformats.org/officeDocument/2006/relationships/image" Target="../media/image3.emf"/><Relationship Id="rId4" Type="http://schemas.openxmlformats.org/officeDocument/2006/relationships/oleObject" Target="../embeddings/oleObject60.bin"/></Relationships>
</file>

<file path=ppt/slides/_rels/slide84.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16.xml"/><Relationship Id="rId1" Type="http://schemas.openxmlformats.org/officeDocument/2006/relationships/tags" Target="../tags/tag67.xml"/><Relationship Id="rId6" Type="http://schemas.openxmlformats.org/officeDocument/2006/relationships/hyperlink" Target="https://news.microsoft.com/apac/features/not-if-but-when-why-japans-panasonic-connect-is-going-all-in-on-ai/" TargetMode="External"/><Relationship Id="rId5" Type="http://schemas.openxmlformats.org/officeDocument/2006/relationships/image" Target="../media/image3.emf"/><Relationship Id="rId4" Type="http://schemas.openxmlformats.org/officeDocument/2006/relationships/oleObject" Target="../embeddings/oleObject61.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16.xml"/><Relationship Id="rId1" Type="http://schemas.openxmlformats.org/officeDocument/2006/relationships/tags" Target="../tags/tag68.xml"/><Relationship Id="rId6" Type="http://schemas.openxmlformats.org/officeDocument/2006/relationships/hyperlink" Target="https://s2.bl-1.com/h/dtClmy3q?url=https://analyticsindiamag.com/how-deutsche-bank-is-riding-the-generative-ai-wave/" TargetMode="External"/><Relationship Id="rId5" Type="http://schemas.openxmlformats.org/officeDocument/2006/relationships/image" Target="../media/image3.emf"/><Relationship Id="rId4" Type="http://schemas.openxmlformats.org/officeDocument/2006/relationships/oleObject" Target="../embeddings/oleObject62.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16.xml"/><Relationship Id="rId1" Type="http://schemas.openxmlformats.org/officeDocument/2006/relationships/tags" Target="../tags/tag69.xml"/><Relationship Id="rId6" Type="http://schemas.openxmlformats.org/officeDocument/2006/relationships/hyperlink" Target="https://consumergoods.com/colgate-palmolive-piloting-generative-ai-chatbot-potential-shape-product-development" TargetMode="External"/><Relationship Id="rId5" Type="http://schemas.openxmlformats.org/officeDocument/2006/relationships/image" Target="../media/image3.emf"/><Relationship Id="rId4" Type="http://schemas.openxmlformats.org/officeDocument/2006/relationships/oleObject" Target="../embeddings/oleObject63.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16.xml"/><Relationship Id="rId1" Type="http://schemas.openxmlformats.org/officeDocument/2006/relationships/tags" Target="../tags/tag70.xml"/><Relationship Id="rId6" Type="http://schemas.openxmlformats.org/officeDocument/2006/relationships/hyperlink" Target="https://www.brex.com/journal/press/brex-openai-ai-tools-for-finance-teams" TargetMode="External"/><Relationship Id="rId5" Type="http://schemas.openxmlformats.org/officeDocument/2006/relationships/image" Target="../media/image3.emf"/><Relationship Id="rId4" Type="http://schemas.openxmlformats.org/officeDocument/2006/relationships/oleObject" Target="../embeddings/oleObject64.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16.xml"/><Relationship Id="rId1" Type="http://schemas.openxmlformats.org/officeDocument/2006/relationships/tags" Target="../tags/tag71.xml"/><Relationship Id="rId6" Type="http://schemas.openxmlformats.org/officeDocument/2006/relationships/hyperlink" Target="https://assets-global.website-files.com/613513981b0efaf850830620/64547cda031839cd98c938f2_Confluent%20_%20Case%20Study_Final.pdf" TargetMode="External"/><Relationship Id="rId5" Type="http://schemas.openxmlformats.org/officeDocument/2006/relationships/image" Target="../media/image3.emf"/><Relationship Id="rId4" Type="http://schemas.openxmlformats.org/officeDocument/2006/relationships/oleObject" Target="../embeddings/oleObject6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6.xml"/><Relationship Id="rId1" Type="http://schemas.openxmlformats.org/officeDocument/2006/relationships/tags" Target="../tags/tag5.xml"/><Relationship Id="rId6" Type="http://schemas.openxmlformats.org/officeDocument/2006/relationships/hyperlink" Target="https://www.cnbc.com/2023/03/22/goldman-sachs-experiments-with-chatgpt-like-ai-to-help-devs-write-code.html" TargetMode="External"/><Relationship Id="rId5" Type="http://schemas.openxmlformats.org/officeDocument/2006/relationships/image" Target="../media/image3.emf"/><Relationship Id="rId4" Type="http://schemas.openxmlformats.org/officeDocument/2006/relationships/oleObject" Target="../embeddings/oleObject4.bin"/></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72.xml"/><Relationship Id="rId7" Type="http://schemas.openxmlformats.org/officeDocument/2006/relationships/hyperlink" Target="https://news.lumen.com/lumen-technologies-dives-into-microsoft-365-copilot-to-help-enhance-employee-efficiency-and-customer-relationships" TargetMode="External"/><Relationship Id="rId2" Type="http://schemas.openxmlformats.org/officeDocument/2006/relationships/slideLayout" Target="../slideLayouts/slideLayout16.xml"/><Relationship Id="rId1" Type="http://schemas.openxmlformats.org/officeDocument/2006/relationships/tags" Target="../tags/tag72.xml"/><Relationship Id="rId6" Type="http://schemas.openxmlformats.org/officeDocument/2006/relationships/hyperlink" Target="https://www.fiercetelecom.com/telecom/lumen-tests-microsoft-generative-ai-tool-boost-customer-service" TargetMode="External"/><Relationship Id="rId5" Type="http://schemas.openxmlformats.org/officeDocument/2006/relationships/image" Target="../media/image3.emf"/><Relationship Id="rId4" Type="http://schemas.openxmlformats.org/officeDocument/2006/relationships/oleObject" Target="../embeddings/oleObject66.bin"/></Relationships>
</file>

<file path=ppt/slides/_rels/slide91.xml.rels><?xml version="1.0" encoding="UTF-8" standalone="yes"?>
<Relationships xmlns="http://schemas.openxmlformats.org/package/2006/relationships"><Relationship Id="rId8" Type="http://schemas.openxmlformats.org/officeDocument/2006/relationships/hyperlink" Target="https://chainstoreage.com/walmart-includes-generative-ai-tool-new-employee-super-app" TargetMode="External"/><Relationship Id="rId3" Type="http://schemas.openxmlformats.org/officeDocument/2006/relationships/notesSlide" Target="../notesSlides/notesSlide73.xml"/><Relationship Id="rId7" Type="http://schemas.openxmlformats.org/officeDocument/2006/relationships/hyperlink" Target="https://www.businessinsider.in/retail/news/walmarts-corporate-employees-are-getting-a-generative-ai-assistant-while-amazon-and-apple-are-restricting-ai-in-the-workplace/articleshow/103220724.cms" TargetMode="External"/><Relationship Id="rId2" Type="http://schemas.openxmlformats.org/officeDocument/2006/relationships/slideLayout" Target="../slideLayouts/slideLayout16.xml"/><Relationship Id="rId1" Type="http://schemas.openxmlformats.org/officeDocument/2006/relationships/tags" Target="../tags/tag73.xml"/><Relationship Id="rId6" Type="http://schemas.openxmlformats.org/officeDocument/2006/relationships/hyperlink" Target="https://www.linkedin.com/news/story/walmart-intros-ai-app-for-employees-5747988/" TargetMode="External"/><Relationship Id="rId5" Type="http://schemas.openxmlformats.org/officeDocument/2006/relationships/image" Target="../media/image3.emf"/><Relationship Id="rId4" Type="http://schemas.openxmlformats.org/officeDocument/2006/relationships/oleObject" Target="../embeddings/oleObject67.bin"/></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16.xml"/><Relationship Id="rId1" Type="http://schemas.openxmlformats.org/officeDocument/2006/relationships/tags" Target="../tags/tag74.xml"/><Relationship Id="rId6" Type="http://schemas.openxmlformats.org/officeDocument/2006/relationships/hyperlink" Target="https://www.ericsson.com/en/blog/2023/8/applied-generative-ai-for-enterprise" TargetMode="External"/><Relationship Id="rId5" Type="http://schemas.openxmlformats.org/officeDocument/2006/relationships/image" Target="../media/image3.emf"/><Relationship Id="rId4" Type="http://schemas.openxmlformats.org/officeDocument/2006/relationships/oleObject" Target="../embeddings/oleObject4.bin"/></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16.xml"/><Relationship Id="rId1" Type="http://schemas.openxmlformats.org/officeDocument/2006/relationships/tags" Target="../tags/tag75.xml"/><Relationship Id="rId6" Type="http://schemas.openxmlformats.org/officeDocument/2006/relationships/hyperlink" Target="https://www.insurancebusinessmag.com/us/news/technology/axa-deploys-inhouse-gpt-platform-for-staff-454321.aspx" TargetMode="External"/><Relationship Id="rId5" Type="http://schemas.openxmlformats.org/officeDocument/2006/relationships/image" Target="../media/image3.emf"/><Relationship Id="rId4" Type="http://schemas.openxmlformats.org/officeDocument/2006/relationships/oleObject" Target="../embeddings/oleObject4.bin"/></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16.xml"/><Relationship Id="rId1" Type="http://schemas.openxmlformats.org/officeDocument/2006/relationships/tags" Target="../tags/tag76.xml"/><Relationship Id="rId6" Type="http://schemas.openxmlformats.org/officeDocument/2006/relationships/hyperlink" Target="https://www.gartner.com/document/4912631?ref=solrAll&amp;refval=393830742&amp;" TargetMode="External"/><Relationship Id="rId5" Type="http://schemas.openxmlformats.org/officeDocument/2006/relationships/image" Target="../media/image3.emf"/><Relationship Id="rId4" Type="http://schemas.openxmlformats.org/officeDocument/2006/relationships/oleObject" Target="../embeddings/oleObject4.bin"/></Relationships>
</file>

<file path=ppt/slides/_rels/slide95.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3.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16.xml"/><Relationship Id="rId1" Type="http://schemas.openxmlformats.org/officeDocument/2006/relationships/tags" Target="../tags/tag77.xml"/><Relationship Id="rId6" Type="http://schemas.openxmlformats.org/officeDocument/2006/relationships/hyperlink" Target="https://www.pymnts.com/news/artificial-intelligence/2023/james-allen-offers-chatgpt-assistant-subscrptions-shoppers/" TargetMode="External"/><Relationship Id="rId5" Type="http://schemas.openxmlformats.org/officeDocument/2006/relationships/image" Target="../media/image3.emf"/><Relationship Id="rId4" Type="http://schemas.openxmlformats.org/officeDocument/2006/relationships/oleObject" Target="../embeddings/oleObject68.bin"/></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16.xml"/><Relationship Id="rId1" Type="http://schemas.openxmlformats.org/officeDocument/2006/relationships/tags" Target="../tags/tag78.xml"/><Relationship Id="rId6" Type="http://schemas.openxmlformats.org/officeDocument/2006/relationships/hyperlink" Target="https://www.instacart.com/company/updates/instacart-chatgpt/" TargetMode="Externa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79.xml"/><Relationship Id="rId7" Type="http://schemas.openxmlformats.org/officeDocument/2006/relationships/hyperlink" Target="https://www.klarna.com/international/press/klarna-brings-smoooth-shopping-to-chatgpt/" TargetMode="External"/><Relationship Id="rId2" Type="http://schemas.openxmlformats.org/officeDocument/2006/relationships/slideLayout" Target="../slideLayouts/slideLayout16.xml"/><Relationship Id="rId1" Type="http://schemas.openxmlformats.org/officeDocument/2006/relationships/tags" Target="../tags/tag79.xml"/><Relationship Id="rId6" Type="http://schemas.openxmlformats.org/officeDocument/2006/relationships/hyperlink" Target="https://www.coinspeaker.com/klarna-adopts-chatgpt/" TargetMode="Externa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16.xml"/><Relationship Id="rId1" Type="http://schemas.openxmlformats.org/officeDocument/2006/relationships/tags" Target="../tags/tag80.xml"/><Relationship Id="rId6" Type="http://schemas.openxmlformats.org/officeDocument/2006/relationships/hyperlink" Target="https://techcrunch.com/2023/03/13/spotifys-new-dj-feature-is-the-first-step-into-the-streamers-ai-powered-future/" TargetMode="External"/><Relationship Id="rId5" Type="http://schemas.openxmlformats.org/officeDocument/2006/relationships/image" Target="../media/image3.emf"/><Relationship Id="rId4" Type="http://schemas.openxmlformats.org/officeDocument/2006/relationships/oleObject" Target="../embeddings/oleObject7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9B53A7-9609-29E5-7538-5A078226E28D}"/>
              </a:ext>
            </a:extLst>
          </p:cNvPr>
          <p:cNvSpPr>
            <a:spLocks noGrp="1"/>
          </p:cNvSpPr>
          <p:nvPr>
            <p:ph type="ctrTitle"/>
          </p:nvPr>
        </p:nvSpPr>
        <p:spPr/>
        <p:txBody>
          <a:bodyPr/>
          <a:lstStyle/>
          <a:p>
            <a:r>
              <a:rPr lang="en-US"/>
              <a:t>Generative AI Case Study Snapshots</a:t>
            </a:r>
          </a:p>
        </p:txBody>
      </p:sp>
      <p:sp>
        <p:nvSpPr>
          <p:cNvPr id="3" name="TextBox 2">
            <a:extLst>
              <a:ext uri="{FF2B5EF4-FFF2-40B4-BE49-F238E27FC236}">
                <a16:creationId xmlns:a16="http://schemas.microsoft.com/office/drawing/2014/main" id="{117D4E76-B3A1-717B-5C07-4BEB03A2C018}"/>
              </a:ext>
            </a:extLst>
          </p:cNvPr>
          <p:cNvSpPr txBox="1"/>
          <p:nvPr/>
        </p:nvSpPr>
        <p:spPr>
          <a:xfrm>
            <a:off x="433083" y="5401492"/>
            <a:ext cx="7765008" cy="369332"/>
          </a:xfrm>
          <a:prstGeom prst="rect">
            <a:avLst/>
          </a:prstGeom>
          <a:noFill/>
        </p:spPr>
        <p:txBody>
          <a:bodyPr wrap="square" lIns="0" tIns="0" rIns="0" bIns="0" rtlCol="0" anchor="b" anchorCtr="0">
            <a:spAutoFit/>
          </a:bodyPr>
          <a:lstStyle/>
          <a:p>
            <a:pPr algn="l"/>
            <a:r>
              <a:rPr lang="en-US" sz="800" b="1" i="0">
                <a:solidFill>
                  <a:srgbClr val="424242"/>
                </a:solidFill>
                <a:effectLst/>
                <a:latin typeface="Arial"/>
                <a:cs typeface="Arial"/>
              </a:rPr>
              <a:t>Contribute to Beta Research</a:t>
            </a:r>
            <a:endParaRPr lang="en-US" sz="800" b="1" i="1">
              <a:solidFill>
                <a:srgbClr val="424242"/>
              </a:solidFill>
              <a:effectLst/>
              <a:latin typeface="Arial"/>
              <a:cs typeface="Arial"/>
            </a:endParaRPr>
          </a:p>
          <a:p>
            <a:pPr algn="l"/>
            <a:r>
              <a:rPr lang="en-US" sz="800" b="0" i="1">
                <a:solidFill>
                  <a:srgbClr val="424242"/>
                </a:solidFill>
                <a:effectLst/>
                <a:latin typeface="Arial"/>
                <a:cs typeface="Arial"/>
              </a:rPr>
              <a:t>The following research is a work in progress that does not represent our final position. We invite you to </a:t>
            </a:r>
            <a:r>
              <a:rPr lang="en-US" sz="800" b="0" i="1" u="none" strike="noStrike">
                <a:solidFill>
                  <a:srgbClr val="0A6ABB"/>
                </a:solidFill>
                <a:effectLst/>
                <a:latin typeface="Arial"/>
                <a:cs typeface="Arial"/>
                <a:hlinkClick r:id="rId2"/>
              </a:rPr>
              <a:t>provide constructive feedback</a:t>
            </a:r>
            <a:r>
              <a:rPr lang="en-US" sz="800" b="0" i="1">
                <a:solidFill>
                  <a:srgbClr val="424242"/>
                </a:solidFill>
                <a:effectLst/>
                <a:latin typeface="Arial"/>
                <a:cs typeface="Arial"/>
              </a:rPr>
              <a:t> to help share this research as it evolves. All relevant updates and feedback will be incorporated into the final research.</a:t>
            </a:r>
          </a:p>
        </p:txBody>
      </p:sp>
    </p:spTree>
    <p:extLst>
      <p:ext uri="{BB962C8B-B14F-4D97-AF65-F5344CB8AC3E}">
        <p14:creationId xmlns:p14="http://schemas.microsoft.com/office/powerpoint/2010/main" val="21211658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15458-CABC-674F-8A91-CBE59CB9F375}"/>
              </a:ext>
            </a:extLst>
          </p:cNvPr>
          <p:cNvSpPr>
            <a:spLocks noGrp="1"/>
          </p:cNvSpPr>
          <p:nvPr>
            <p:ph type="title"/>
          </p:nvPr>
        </p:nvSpPr>
        <p:spPr/>
        <p:txBody>
          <a:bodyPr/>
          <a:lstStyle/>
          <a:p>
            <a:r>
              <a:rPr lang="en-US"/>
              <a:t>Marketing Content Generation</a:t>
            </a:r>
          </a:p>
        </p:txBody>
      </p:sp>
      <p:sp>
        <p:nvSpPr>
          <p:cNvPr id="4" name="TextBox 3">
            <a:extLst>
              <a:ext uri="{FF2B5EF4-FFF2-40B4-BE49-F238E27FC236}">
                <a16:creationId xmlns:a16="http://schemas.microsoft.com/office/drawing/2014/main" id="{8CA9B5A7-7BBF-283E-3510-891924784DE4}"/>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11916403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2500" b="1" kern="0">
                <a:solidFill>
                  <a:srgbClr val="172A54"/>
                </a:solidFill>
                <a:latin typeface="Arial Black"/>
                <a:ea typeface="Arial Black"/>
                <a:cs typeface="Arial Black"/>
                <a:sym typeface="Arial Black"/>
              </a:rPr>
              <a:t>LQR House enhances customer experience and overall conversions on </a:t>
            </a:r>
            <a:r>
              <a:rPr lang="en-US" sz="2500" b="1" kern="0" err="1">
                <a:solidFill>
                  <a:srgbClr val="172A54"/>
                </a:solidFill>
                <a:latin typeface="Arial Black"/>
                <a:ea typeface="Arial Black"/>
                <a:cs typeface="Arial Black"/>
                <a:sym typeface="Arial Black"/>
              </a:rPr>
              <a:t>CWSpirits.com</a:t>
            </a:r>
            <a:endParaRPr lang="en-US" sz="2500" b="1" kern="0">
              <a:solidFill>
                <a:srgbClr val="172A54"/>
              </a:solidFill>
              <a:latin typeface="Arial Black"/>
              <a:ea typeface="Arial Black"/>
              <a:cs typeface="Arial Black"/>
              <a:sym typeface="Arial Black"/>
            </a:endParaRP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LQR House, an alcoholic beverage company, has partnered with OpenAI's ChatGPT to enhance e-commerce and customer interaction by integrating ChatGPT into their platform CWSpirits.com, aiming to provide personalized shopping experiences and boost conversion rate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OpenAI’s ChatGPT, named LQR Genius, is an AI-powered chatbot that provides customers with customized shopping recommendations and instant answers to product inquiries.</a:t>
            </a:r>
          </a:p>
          <a:p>
            <a:pPr algn="just" defTabSz="914400">
              <a:buClr>
                <a:srgbClr val="000000"/>
              </a:buClr>
            </a:pPr>
            <a:r>
              <a:rPr lang="en-US" sz="1400" kern="0">
                <a:solidFill>
                  <a:srgbClr val="000000"/>
                </a:solidFill>
                <a:cs typeface="Arial"/>
                <a:sym typeface="Arial"/>
              </a:rPr>
              <a:t>This collaboration extends into LQR House’s marketing strategies, with the chatbot serving as a conduit to keep customers informed about ongoing sales and promotions. </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9478" y="4904139"/>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LQR House is leveraging artificial intelligence to enhance customer satisfaction and improve marketing strategies. The AI chatbot provides personalized product suggestions based on individual preferences and purchase history, enhancing communication and ensuring quick responses to inquiries, order updates, and stock information.</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defTabSz="914400">
              <a:buClr>
                <a:srgbClr val="000000"/>
              </a:buClr>
              <a:defRPr/>
            </a:pPr>
            <a:r>
              <a:rPr lang="en-US" sz="1400" kern="0">
                <a:solidFill>
                  <a:srgbClr val="000000"/>
                </a:solidFill>
                <a:cs typeface="Arial"/>
                <a:sym typeface="Arial"/>
              </a:rPr>
              <a:t>Marketing Agency</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72678"/>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ChatGPT</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	</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ffectiveness, Customer Satisfaction</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Upend</a:t>
            </a:r>
          </a:p>
        </p:txBody>
      </p:sp>
      <p:sp>
        <p:nvSpPr>
          <p:cNvPr id="3" name="TextBox 2">
            <a:extLst>
              <a:ext uri="{FF2B5EF4-FFF2-40B4-BE49-F238E27FC236}">
                <a16:creationId xmlns:a16="http://schemas.microsoft.com/office/drawing/2014/main" id="{44A66C00-6FB7-973B-67C2-B6DDDE3265D2}"/>
              </a:ext>
            </a:extLst>
          </p:cNvPr>
          <p:cNvSpPr txBox="1"/>
          <p:nvPr/>
        </p:nvSpPr>
        <p:spPr>
          <a:xfrm>
            <a:off x="3911182" y="6129706"/>
            <a:ext cx="6554541" cy="923330"/>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ts2.space/en/elevating-marketing-precision-lqr-house-enhances-customer-experience-with-ai-integration/</a:t>
            </a:r>
            <a:r>
              <a:rPr lang="en-US" sz="1000"/>
              <a:t> </a:t>
            </a:r>
            <a:r>
              <a:rPr lang="en-US" sz="1000">
                <a:hlinkClick r:id="rId7"/>
              </a:rPr>
              <a:t>https://www.bloomberg.com/press-releases/2023-08-31/openai-s-chatgpt-and-lqr-house-collaborate-to-enhance-customer-experience-and-overall-conversions-on-cwspirits-com-llzdhdvg</a:t>
            </a:r>
            <a:r>
              <a:rPr lang="en-US" sz="1000"/>
              <a:t> </a:t>
            </a:r>
          </a:p>
          <a:p>
            <a:pPr defTabSz="914400">
              <a:lnSpc>
                <a:spcPct val="90000"/>
              </a:lnSpc>
              <a:defRPr/>
            </a:pPr>
            <a:r>
              <a:rPr lang="en-US" sz="1000" b="1"/>
              <a:t>Publish Date: 8/2023</a:t>
            </a:r>
          </a:p>
          <a:p>
            <a:pPr defTabSz="914400">
              <a:lnSpc>
                <a:spcPct val="90000"/>
              </a:lnSpc>
              <a:defRPr/>
            </a:pPr>
            <a:endParaRPr lang="en-US" sz="1000"/>
          </a:p>
        </p:txBody>
      </p:sp>
      <p:sp>
        <p:nvSpPr>
          <p:cNvPr id="2" name="TextBox 1">
            <a:extLst>
              <a:ext uri="{FF2B5EF4-FFF2-40B4-BE49-F238E27FC236}">
                <a16:creationId xmlns:a16="http://schemas.microsoft.com/office/drawing/2014/main" id="{7B0A1C8F-2D20-4DE8-4AC2-DD9DB8A0EFAC}"/>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ED3A3415-0AE9-4BA8-A66A-13ADD5B759D3}"/>
              </a:ext>
            </a:extLst>
          </p:cNvPr>
          <p:cNvSpPr txBox="1"/>
          <p:nvPr/>
        </p:nvSpPr>
        <p:spPr>
          <a:xfrm>
            <a:off x="2190187" y="1768161"/>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LQR House</a:t>
            </a:r>
          </a:p>
        </p:txBody>
      </p:sp>
      <p:sp>
        <p:nvSpPr>
          <p:cNvPr id="14" name="TextBox 13">
            <a:extLst>
              <a:ext uri="{FF2B5EF4-FFF2-40B4-BE49-F238E27FC236}">
                <a16:creationId xmlns:a16="http://schemas.microsoft.com/office/drawing/2014/main" id="{0067E8A8-8809-1B1C-88BC-DD2CF4646ACA}"/>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E18DE0DB-C372-29AF-F7B4-8A5D57FE1914}"/>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Sales Content Cre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9E568F27-E74B-3436-4D98-1919A74C4E70}"/>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85</a:t>
            </a:r>
          </a:p>
        </p:txBody>
      </p:sp>
    </p:spTree>
    <p:extLst>
      <p:ext uri="{BB962C8B-B14F-4D97-AF65-F5344CB8AC3E}">
        <p14:creationId xmlns:p14="http://schemas.microsoft.com/office/powerpoint/2010/main" val="23336527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Square adds generative AI tools for seller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Square said its AI tools will save restaurant operators time and labor costs by generating consumer-facing text and images based on inputs from businesses. It has added 10 new features to its software that use generative artificial intelligence, including a menu generator and a website copy generator</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43439" y="2993583"/>
            <a:ext cx="7911128"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company is using third-party AI tech including “OpenAI models like GPT-3, GPT-3.5, and GPT-4,” to power these tool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1092607"/>
          </a:xfrm>
          <a:prstGeom prst="rect">
            <a:avLst/>
          </a:prstGeom>
          <a:noFill/>
        </p:spPr>
        <p:txBody>
          <a:bodyPr wrap="square" rtlCol="0">
            <a:spAutoFit/>
          </a:bodyPr>
          <a:lstStyle/>
          <a:p>
            <a:pPr algn="just" defTabSz="914400">
              <a:buClr>
                <a:srgbClr val="000000"/>
              </a:buClr>
            </a:pPr>
            <a:r>
              <a:rPr lang="en-US" sz="1300" kern="0">
                <a:solidFill>
                  <a:srgbClr val="000000"/>
                </a:solidFill>
                <a:cs typeface="Arial"/>
                <a:sym typeface="Arial"/>
              </a:rPr>
              <a:t>Square said its AI tools will save restaurant operators time and labor costs by generating consumer-facing text and images based on inputs from businesses.</a:t>
            </a:r>
          </a:p>
          <a:p>
            <a:pPr algn="just" defTabSz="914400">
              <a:buClr>
                <a:srgbClr val="000000"/>
              </a:buClr>
            </a:pPr>
            <a:endParaRPr lang="en-US" sz="1300" kern="0">
              <a:solidFill>
                <a:srgbClr val="000000"/>
              </a:solidFill>
              <a:cs typeface="Arial"/>
              <a:sym typeface="Arial"/>
            </a:endParaRPr>
          </a:p>
          <a:p>
            <a:pPr algn="just" defTabSz="914400">
              <a:buClr>
                <a:srgbClr val="000000"/>
              </a:buClr>
            </a:pPr>
            <a:r>
              <a:rPr lang="en-US" sz="1300" kern="0">
                <a:solidFill>
                  <a:srgbClr val="000000"/>
                </a:solidFill>
                <a:cs typeface="Arial"/>
                <a:sym typeface="Arial"/>
              </a:rPr>
              <a:t>Square also highlighted tools that can generate communications with employees, generate website copy, draft personalized email promotions, and suggest replies in direct communication with customers. </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Retail</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fficiency, Effectiveness</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7F305365-29CA-C7B5-6E3F-210DC60ACF6E}"/>
              </a:ext>
            </a:extLst>
          </p:cNvPr>
          <p:cNvSpPr txBox="1"/>
          <p:nvPr/>
        </p:nvSpPr>
        <p:spPr>
          <a:xfrm>
            <a:off x="3911182" y="6129706"/>
            <a:ext cx="6554541" cy="784830"/>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squareup.com/us/en/press/square-ai-tools</a:t>
            </a:r>
            <a:endParaRPr lang="en-US" sz="1000"/>
          </a:p>
          <a:p>
            <a:pPr defTabSz="914400">
              <a:lnSpc>
                <a:spcPct val="90000"/>
              </a:lnSpc>
              <a:defRPr/>
            </a:pPr>
            <a:r>
              <a:rPr lang="en-US" sz="1000">
                <a:hlinkClick r:id="rId7"/>
              </a:rPr>
              <a:t>  https://www.paymentsdive.com/news/square-adds-generative-ai-tools-for-sellers/697200/</a:t>
            </a:r>
            <a:endParaRPr lang="en-US" sz="1000"/>
          </a:p>
          <a:p>
            <a:pPr defTabSz="914400">
              <a:lnSpc>
                <a:spcPct val="90000"/>
              </a:lnSpc>
              <a:defRPr/>
            </a:pPr>
            <a:r>
              <a:rPr lang="en-US" sz="1000" b="1"/>
              <a:t>Publish Date: 10/2023</a:t>
            </a:r>
          </a:p>
          <a:p>
            <a:pPr defTabSz="914400">
              <a:lnSpc>
                <a:spcPct val="90000"/>
              </a:lnSpc>
              <a:defRPr/>
            </a:pPr>
            <a:endParaRPr lang="en-US" sz="1000"/>
          </a:p>
        </p:txBody>
      </p:sp>
      <p:sp>
        <p:nvSpPr>
          <p:cNvPr id="2" name="TextBox 1">
            <a:extLst>
              <a:ext uri="{FF2B5EF4-FFF2-40B4-BE49-F238E27FC236}">
                <a16:creationId xmlns:a16="http://schemas.microsoft.com/office/drawing/2014/main" id="{8C275B1D-3497-1C2D-A937-151608D42AD5}"/>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5" name="TextBox 14">
            <a:extLst>
              <a:ext uri="{FF2B5EF4-FFF2-40B4-BE49-F238E27FC236}">
                <a16:creationId xmlns:a16="http://schemas.microsoft.com/office/drawing/2014/main" id="{E8A83B76-EA8D-C113-029A-573566691D5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60AFD7A3-3381-BC80-1030-669AFE6D746E}"/>
              </a:ext>
            </a:extLst>
          </p:cNvPr>
          <p:cNvSpPr txBox="1"/>
          <p:nvPr/>
        </p:nvSpPr>
        <p:spPr>
          <a:xfrm>
            <a:off x="2229932" y="2753118"/>
            <a:ext cx="1681249"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Sales Content Cre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485B9F8-9806-D2FC-8CAF-164905405243}"/>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97</a:t>
            </a:r>
          </a:p>
        </p:txBody>
      </p:sp>
      <p:sp>
        <p:nvSpPr>
          <p:cNvPr id="19" name="TextBox 18">
            <a:extLst>
              <a:ext uri="{FF2B5EF4-FFF2-40B4-BE49-F238E27FC236}">
                <a16:creationId xmlns:a16="http://schemas.microsoft.com/office/drawing/2014/main" id="{908584C9-8053-BAF4-2837-F31222763A77}"/>
              </a:ext>
            </a:extLst>
          </p:cNvPr>
          <p:cNvSpPr txBox="1"/>
          <p:nvPr/>
        </p:nvSpPr>
        <p:spPr>
          <a:xfrm>
            <a:off x="2132126" y="1659764"/>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Square</a:t>
            </a:r>
          </a:p>
        </p:txBody>
      </p:sp>
      <p:sp>
        <p:nvSpPr>
          <p:cNvPr id="20" name="TextBox 19">
            <a:extLst>
              <a:ext uri="{FF2B5EF4-FFF2-40B4-BE49-F238E27FC236}">
                <a16:creationId xmlns:a16="http://schemas.microsoft.com/office/drawing/2014/main" id="{8BC02F85-542C-62AC-AE9B-960CD2FC3FDC}"/>
              </a:ext>
            </a:extLst>
          </p:cNvPr>
          <p:cNvSpPr txBox="1"/>
          <p:nvPr/>
        </p:nvSpPr>
        <p:spPr>
          <a:xfrm>
            <a:off x="0" y="1672822"/>
            <a:ext cx="1630828"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GPT</a:t>
            </a:r>
            <a:endParaRPr lang="en-US" sz="1400" b="1" kern="0">
              <a:solidFill>
                <a:srgbClr val="000000"/>
              </a:solidFill>
              <a:cs typeface="Arial"/>
              <a:sym typeface="Arial"/>
            </a:endParaRPr>
          </a:p>
        </p:txBody>
      </p:sp>
    </p:spTree>
    <p:extLst>
      <p:ext uri="{BB962C8B-B14F-4D97-AF65-F5344CB8AC3E}">
        <p14:creationId xmlns:p14="http://schemas.microsoft.com/office/powerpoint/2010/main" val="20664272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Amazon continues to improve the customer reviews experience with generative AI</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1092607"/>
          </a:xfrm>
          <a:prstGeom prst="rect">
            <a:avLst/>
          </a:prstGeom>
          <a:noFill/>
        </p:spPr>
        <p:txBody>
          <a:bodyPr wrap="square" rtlCol="0">
            <a:spAutoFit/>
          </a:bodyPr>
          <a:lstStyle/>
          <a:p>
            <a:pPr algn="just" defTabSz="914400">
              <a:buClr>
                <a:srgbClr val="000000"/>
              </a:buClr>
            </a:pPr>
            <a:r>
              <a:rPr lang="en-US" sz="1300" kern="0">
                <a:solidFill>
                  <a:srgbClr val="000000"/>
                </a:solidFill>
                <a:cs typeface="Arial"/>
                <a:sym typeface="Arial"/>
              </a:rPr>
              <a:t>Customers loved learning from each other and sharing feedback within the Amazon community. They wanted to hear from people who spent their own money, got the product, and used it. Other companies across retail began to adopt customer reviews on their own sites, and soon reviews became synonymous with online shopping. Today, it’s hard to imagine making a purchase decision without first understanding how other customers feel about a product.</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43439" y="2993583"/>
            <a:ext cx="7911128" cy="1600438"/>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o increase the range and diversity of reviewers, in 2019, began enabling customers who purchased an item on Amazon to provide feedback by leaving a quick star rating without having to write a full text review.</a:t>
            </a:r>
          </a:p>
          <a:p>
            <a:pPr algn="just" defTabSz="914400">
              <a:buClr>
                <a:srgbClr val="000000"/>
              </a:buClr>
            </a:pPr>
            <a:endParaRPr lang="en-US" sz="1400" kern="0">
              <a:solidFill>
                <a:srgbClr val="000000"/>
              </a:solidFill>
              <a:cs typeface="Arial"/>
              <a:sym typeface="Arial"/>
            </a:endParaRPr>
          </a:p>
          <a:p>
            <a:pPr algn="just" defTabSz="914400">
              <a:buClr>
                <a:srgbClr val="000000"/>
              </a:buClr>
            </a:pPr>
            <a:r>
              <a:rPr lang="en-US" sz="1400" kern="0">
                <a:solidFill>
                  <a:srgbClr val="000000"/>
                </a:solidFill>
                <a:cs typeface="Arial"/>
                <a:sym typeface="Arial"/>
              </a:rPr>
              <a:t>The new AI-powered feature provides a short paragraph right on the product detail page that highlights the product features and customer sentiment frequently mentioned across written reviews to help customers determine at a glance whether a product is right for them.</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new AI-generated review highlights use only our trusted review corpus from verified purchases, ensuring that customers can easily understand the community’s opinions at a glance.</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E-Commerce</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7F305365-29CA-C7B5-6E3F-210DC60ACF6E}"/>
              </a:ext>
            </a:extLst>
          </p:cNvPr>
          <p:cNvSpPr txBox="1"/>
          <p:nvPr/>
        </p:nvSpPr>
        <p:spPr>
          <a:xfrm>
            <a:off x="3911182" y="6129706"/>
            <a:ext cx="6554541" cy="784830"/>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www.aboutamazon.com/news/amazon-ai/amazon-improves-customer-reviews-with-generative-ai</a:t>
            </a:r>
            <a:endParaRPr lang="en-US" sz="1000"/>
          </a:p>
          <a:p>
            <a:pPr defTabSz="914400">
              <a:lnSpc>
                <a:spcPct val="90000"/>
              </a:lnSpc>
              <a:defRPr/>
            </a:pPr>
            <a:r>
              <a:rPr lang="en-US" sz="1000" b="1"/>
              <a:t>Publish Date: 08/2023</a:t>
            </a:r>
          </a:p>
          <a:p>
            <a:pPr defTabSz="914400">
              <a:lnSpc>
                <a:spcPct val="90000"/>
              </a:lnSpc>
              <a:defRPr/>
            </a:pPr>
            <a:endParaRPr lang="en-US" sz="1000"/>
          </a:p>
        </p:txBody>
      </p:sp>
      <p:sp>
        <p:nvSpPr>
          <p:cNvPr id="2" name="TextBox 1">
            <a:extLst>
              <a:ext uri="{FF2B5EF4-FFF2-40B4-BE49-F238E27FC236}">
                <a16:creationId xmlns:a16="http://schemas.microsoft.com/office/drawing/2014/main" id="{8C275B1D-3497-1C2D-A937-151608D42AD5}"/>
              </a:ext>
            </a:extLst>
          </p:cNvPr>
          <p:cNvSpPr txBox="1"/>
          <p:nvPr/>
        </p:nvSpPr>
        <p:spPr>
          <a:xfrm>
            <a:off x="111302"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5" name="TextBox 14">
            <a:extLst>
              <a:ext uri="{FF2B5EF4-FFF2-40B4-BE49-F238E27FC236}">
                <a16:creationId xmlns:a16="http://schemas.microsoft.com/office/drawing/2014/main" id="{E8A83B76-EA8D-C113-029A-573566691D5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60AFD7A3-3381-BC80-1030-669AFE6D746E}"/>
              </a:ext>
            </a:extLst>
          </p:cNvPr>
          <p:cNvSpPr txBox="1"/>
          <p:nvPr/>
        </p:nvSpPr>
        <p:spPr>
          <a:xfrm>
            <a:off x="2229932" y="2753118"/>
            <a:ext cx="1681249"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Sales Content Cre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485B9F8-9806-D2FC-8CAF-164905405243}"/>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99</a:t>
            </a:r>
          </a:p>
        </p:txBody>
      </p:sp>
      <p:sp>
        <p:nvSpPr>
          <p:cNvPr id="19" name="TextBox 18">
            <a:extLst>
              <a:ext uri="{FF2B5EF4-FFF2-40B4-BE49-F238E27FC236}">
                <a16:creationId xmlns:a16="http://schemas.microsoft.com/office/drawing/2014/main" id="{908584C9-8053-BAF4-2837-F31222763A77}"/>
              </a:ext>
            </a:extLst>
          </p:cNvPr>
          <p:cNvSpPr txBox="1"/>
          <p:nvPr/>
        </p:nvSpPr>
        <p:spPr>
          <a:xfrm>
            <a:off x="-77997" y="1679182"/>
            <a:ext cx="1840353"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Amazon</a:t>
            </a:r>
          </a:p>
        </p:txBody>
      </p:sp>
      <p:sp>
        <p:nvSpPr>
          <p:cNvPr id="8" name="Rectangle 7">
            <a:extLst>
              <a:ext uri="{FF2B5EF4-FFF2-40B4-BE49-F238E27FC236}">
                <a16:creationId xmlns:a16="http://schemas.microsoft.com/office/drawing/2014/main" id="{A68D5E23-72DC-7317-3E70-7D71B7BA80BC}"/>
              </a:ext>
            </a:extLst>
          </p:cNvPr>
          <p:cNvSpPr/>
          <p:nvPr/>
        </p:nvSpPr>
        <p:spPr>
          <a:xfrm>
            <a:off x="334496" y="5776431"/>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ffectiveness, Innovation</a:t>
            </a:r>
          </a:p>
        </p:txBody>
      </p:sp>
    </p:spTree>
    <p:extLst>
      <p:ext uri="{BB962C8B-B14F-4D97-AF65-F5344CB8AC3E}">
        <p14:creationId xmlns:p14="http://schemas.microsoft.com/office/powerpoint/2010/main" val="38542967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Tripadvisor launches AI-powered travel planning product</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ripadvisor wanted to create a personalized travel itineraries utilizing OpenAI’s generative AI technology.</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43439" y="2993583"/>
            <a:ext cx="7911128" cy="1600438"/>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is new feature (currently in public beta) creates personalized travel itineraries utilizing OpenAI’s generative AI technology. It leverages human insights from over a billion reviews and opinions of the more than eight million businesses listed on Tripadvisor, delivering reliable, trustworthy guidance from its community of real travelers.</a:t>
            </a:r>
          </a:p>
          <a:p>
            <a:pPr algn="just" defTabSz="914400">
              <a:buClr>
                <a:srgbClr val="000000"/>
              </a:buClr>
            </a:pPr>
            <a:endParaRPr lang="en-US" sz="1400" kern="0">
              <a:solidFill>
                <a:srgbClr val="000000"/>
              </a:solidFill>
              <a:cs typeface="Arial"/>
              <a:sym typeface="Arial"/>
            </a:endParaRPr>
          </a:p>
          <a:p>
            <a:pPr algn="just" defTabSz="914400">
              <a:buClr>
                <a:srgbClr val="000000"/>
              </a:buClr>
            </a:pPr>
            <a:r>
              <a:rPr lang="en-US" sz="1400" kern="0">
                <a:solidFill>
                  <a:srgbClr val="000000"/>
                </a:solidFill>
                <a:cs typeface="Arial"/>
                <a:sym typeface="Arial"/>
              </a:rPr>
              <a:t>Guidance platform aims to reimagine the way travelers plan, share and book trips</a:t>
            </a:r>
          </a:p>
          <a:p>
            <a:pPr algn="just" defTabSz="914400">
              <a:buClr>
                <a:srgbClr val="000000"/>
              </a:buClr>
            </a:pPr>
            <a:r>
              <a:rPr lang="en-US" sz="1400" kern="0">
                <a:solidFill>
                  <a:srgbClr val="000000"/>
                </a:solidFill>
                <a:cs typeface="Arial"/>
                <a:sym typeface="Arial"/>
              </a:rPr>
              <a:t>New feature utilizes OpenAI’s generative AI technology to curate personalized itinerarie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As travelers progress through the trip planning process, they have opportunities to engage and interact with the breadth of Tripadvisor’s travel guidance content, from reviews and opinions, to experiences and photos from the community. Travelers can save all content they interact with to a Trip as they build their travel plan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Travel</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7F305365-29CA-C7B5-6E3F-210DC60ACF6E}"/>
              </a:ext>
            </a:extLst>
          </p:cNvPr>
          <p:cNvSpPr txBox="1"/>
          <p:nvPr/>
        </p:nvSpPr>
        <p:spPr>
          <a:xfrm>
            <a:off x="3911182" y="6129706"/>
            <a:ext cx="6554541" cy="646331"/>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tripadvisor.mediaroom.com/Tripadvisor-launches-AI-powered-travel-planning-product</a:t>
            </a:r>
            <a:endParaRPr lang="en-US" sz="1000"/>
          </a:p>
          <a:p>
            <a:pPr defTabSz="914400">
              <a:lnSpc>
                <a:spcPct val="90000"/>
              </a:lnSpc>
              <a:defRPr/>
            </a:pPr>
            <a:r>
              <a:rPr lang="en-US" sz="1000" b="1"/>
              <a:t>Publish Date: 07/2023</a:t>
            </a:r>
          </a:p>
          <a:p>
            <a:pPr defTabSz="914400">
              <a:lnSpc>
                <a:spcPct val="90000"/>
              </a:lnSpc>
              <a:defRPr/>
            </a:pPr>
            <a:endParaRPr lang="en-US" sz="1000"/>
          </a:p>
        </p:txBody>
      </p:sp>
      <p:sp>
        <p:nvSpPr>
          <p:cNvPr id="2" name="TextBox 1">
            <a:extLst>
              <a:ext uri="{FF2B5EF4-FFF2-40B4-BE49-F238E27FC236}">
                <a16:creationId xmlns:a16="http://schemas.microsoft.com/office/drawing/2014/main" id="{8C275B1D-3497-1C2D-A937-151608D42AD5}"/>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5" name="TextBox 14">
            <a:extLst>
              <a:ext uri="{FF2B5EF4-FFF2-40B4-BE49-F238E27FC236}">
                <a16:creationId xmlns:a16="http://schemas.microsoft.com/office/drawing/2014/main" id="{E8A83B76-EA8D-C113-029A-573566691D5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60AFD7A3-3381-BC80-1030-669AFE6D746E}"/>
              </a:ext>
            </a:extLst>
          </p:cNvPr>
          <p:cNvSpPr txBox="1"/>
          <p:nvPr/>
        </p:nvSpPr>
        <p:spPr>
          <a:xfrm>
            <a:off x="2229932" y="2753118"/>
            <a:ext cx="1681249"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Sales Content Cre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485B9F8-9806-D2FC-8CAF-164905405243}"/>
              </a:ext>
            </a:extLst>
          </p:cNvPr>
          <p:cNvSpPr txBox="1"/>
          <p:nvPr/>
        </p:nvSpPr>
        <p:spPr>
          <a:xfrm>
            <a:off x="8569828" y="5964515"/>
            <a:ext cx="1779333" cy="338554"/>
          </a:xfrm>
          <a:prstGeom prst="rect">
            <a:avLst/>
          </a:prstGeom>
          <a:noFill/>
        </p:spPr>
        <p:txBody>
          <a:bodyPr wrap="none" lIns="0" rIns="0" rtlCol="0">
            <a:spAutoFit/>
          </a:bodyPr>
          <a:lstStyle/>
          <a:p>
            <a:pPr algn="l">
              <a:spcBef>
                <a:spcPts val="600"/>
              </a:spcBef>
            </a:pPr>
            <a:r>
              <a:rPr lang="en-US" sz="1600"/>
              <a:t>Case Study ID: 100</a:t>
            </a:r>
          </a:p>
        </p:txBody>
      </p:sp>
      <p:sp>
        <p:nvSpPr>
          <p:cNvPr id="19" name="TextBox 18">
            <a:extLst>
              <a:ext uri="{FF2B5EF4-FFF2-40B4-BE49-F238E27FC236}">
                <a16:creationId xmlns:a16="http://schemas.microsoft.com/office/drawing/2014/main" id="{908584C9-8053-BAF4-2837-F31222763A77}"/>
              </a:ext>
            </a:extLst>
          </p:cNvPr>
          <p:cNvSpPr txBox="1"/>
          <p:nvPr/>
        </p:nvSpPr>
        <p:spPr>
          <a:xfrm>
            <a:off x="2021021" y="1696371"/>
            <a:ext cx="1840353"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Tripadvisor</a:t>
            </a:r>
          </a:p>
        </p:txBody>
      </p:sp>
      <p:sp>
        <p:nvSpPr>
          <p:cNvPr id="20" name="TextBox 19">
            <a:extLst>
              <a:ext uri="{FF2B5EF4-FFF2-40B4-BE49-F238E27FC236}">
                <a16:creationId xmlns:a16="http://schemas.microsoft.com/office/drawing/2014/main" id="{8BC02F85-542C-62AC-AE9B-960CD2FC3FDC}"/>
              </a:ext>
            </a:extLst>
          </p:cNvPr>
          <p:cNvSpPr txBox="1"/>
          <p:nvPr/>
        </p:nvSpPr>
        <p:spPr>
          <a:xfrm>
            <a:off x="43879" y="1710039"/>
            <a:ext cx="1630828"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OpenAI</a:t>
            </a:r>
            <a:endParaRPr lang="en-US" sz="1400" b="1" kern="0">
              <a:solidFill>
                <a:srgbClr val="000000"/>
              </a:solidFill>
              <a:cs typeface="Arial"/>
              <a:sym typeface="Arial"/>
            </a:endParaRPr>
          </a:p>
        </p:txBody>
      </p:sp>
      <p:sp>
        <p:nvSpPr>
          <p:cNvPr id="8" name="Rectangle 7">
            <a:extLst>
              <a:ext uri="{FF2B5EF4-FFF2-40B4-BE49-F238E27FC236}">
                <a16:creationId xmlns:a16="http://schemas.microsoft.com/office/drawing/2014/main" id="{A68D5E23-72DC-7317-3E70-7D71B7BA80BC}"/>
              </a:ext>
            </a:extLst>
          </p:cNvPr>
          <p:cNvSpPr/>
          <p:nvPr/>
        </p:nvSpPr>
        <p:spPr>
          <a:xfrm>
            <a:off x="334496" y="5776431"/>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fficiency, Effectiveness, Innovation</a:t>
            </a:r>
          </a:p>
        </p:txBody>
      </p:sp>
    </p:spTree>
    <p:extLst>
      <p:ext uri="{BB962C8B-B14F-4D97-AF65-F5344CB8AC3E}">
        <p14:creationId xmlns:p14="http://schemas.microsoft.com/office/powerpoint/2010/main" val="28576941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Zalando uses ChatGPT to power its online fashion assistant​</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Conversational AI and virtual assistant interfaces interact with customers and associates, which may include facilitating  transactions. The goal is to help customers find what to wear for a certain occasion, e.g., a birthday party, a wedding or a meeting. ​</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43439" y="2993583"/>
            <a:ext cx="7911128"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Microsoft OpenAI Azure Service is used to access OpenAI’s ChatGPT technology. With the new fashion assistant, customers will be able to navigate through Zalando’s assortment using their own words or fashion terms, making the process more intuitive and natural​</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Rollout of beta version started in limited European countries. In November 2023, it was expanded to the UK market.   ​</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Retail</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7F305365-29CA-C7B5-6E3F-210DC60ACF6E}"/>
              </a:ext>
            </a:extLst>
          </p:cNvPr>
          <p:cNvSpPr txBox="1"/>
          <p:nvPr/>
        </p:nvSpPr>
        <p:spPr>
          <a:xfrm>
            <a:off x="3911182" y="6129706"/>
            <a:ext cx="6554541" cy="646331"/>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www.siliconrepublic.com/machines/zalando-chatgpt-ai-fashion-assistant</a:t>
            </a:r>
            <a:endParaRPr lang="en-US" sz="1000"/>
          </a:p>
          <a:p>
            <a:pPr defTabSz="914400">
              <a:lnSpc>
                <a:spcPct val="90000"/>
              </a:lnSpc>
              <a:defRPr/>
            </a:pPr>
            <a:r>
              <a:rPr lang="en-US" sz="1000" b="1"/>
              <a:t>Publish Date: 04/2023</a:t>
            </a:r>
          </a:p>
          <a:p>
            <a:pPr defTabSz="914400">
              <a:lnSpc>
                <a:spcPct val="90000"/>
              </a:lnSpc>
              <a:defRPr/>
            </a:pPr>
            <a:endParaRPr lang="en-US" sz="1000"/>
          </a:p>
        </p:txBody>
      </p:sp>
      <p:sp>
        <p:nvSpPr>
          <p:cNvPr id="2" name="TextBox 1">
            <a:extLst>
              <a:ext uri="{FF2B5EF4-FFF2-40B4-BE49-F238E27FC236}">
                <a16:creationId xmlns:a16="http://schemas.microsoft.com/office/drawing/2014/main" id="{8C275B1D-3497-1C2D-A937-151608D42AD5}"/>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5" name="TextBox 14">
            <a:extLst>
              <a:ext uri="{FF2B5EF4-FFF2-40B4-BE49-F238E27FC236}">
                <a16:creationId xmlns:a16="http://schemas.microsoft.com/office/drawing/2014/main" id="{E8A83B76-EA8D-C113-029A-573566691D59}"/>
              </a:ext>
            </a:extLst>
          </p:cNvPr>
          <p:cNvSpPr txBox="1"/>
          <p:nvPr/>
        </p:nvSpPr>
        <p:spPr>
          <a:xfrm>
            <a:off x="2204899" y="2480846"/>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60AFD7A3-3381-BC80-1030-669AFE6D746E}"/>
              </a:ext>
            </a:extLst>
          </p:cNvPr>
          <p:cNvSpPr txBox="1"/>
          <p:nvPr/>
        </p:nvSpPr>
        <p:spPr>
          <a:xfrm>
            <a:off x="2229932" y="2753118"/>
            <a:ext cx="1681249"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Sales Content Cre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485B9F8-9806-D2FC-8CAF-164905405243}"/>
              </a:ext>
            </a:extLst>
          </p:cNvPr>
          <p:cNvSpPr txBox="1"/>
          <p:nvPr/>
        </p:nvSpPr>
        <p:spPr>
          <a:xfrm>
            <a:off x="8569828" y="5964515"/>
            <a:ext cx="1779333" cy="338554"/>
          </a:xfrm>
          <a:prstGeom prst="rect">
            <a:avLst/>
          </a:prstGeom>
          <a:noFill/>
        </p:spPr>
        <p:txBody>
          <a:bodyPr wrap="none" lIns="0" rIns="0" rtlCol="0">
            <a:spAutoFit/>
          </a:bodyPr>
          <a:lstStyle/>
          <a:p>
            <a:pPr algn="l">
              <a:spcBef>
                <a:spcPts val="600"/>
              </a:spcBef>
            </a:pPr>
            <a:r>
              <a:rPr lang="en-US" sz="1600"/>
              <a:t>Case Study ID: 105</a:t>
            </a:r>
          </a:p>
        </p:txBody>
      </p:sp>
      <p:sp>
        <p:nvSpPr>
          <p:cNvPr id="19" name="TextBox 18">
            <a:extLst>
              <a:ext uri="{FF2B5EF4-FFF2-40B4-BE49-F238E27FC236}">
                <a16:creationId xmlns:a16="http://schemas.microsoft.com/office/drawing/2014/main" id="{908584C9-8053-BAF4-2837-F31222763A77}"/>
              </a:ext>
            </a:extLst>
          </p:cNvPr>
          <p:cNvSpPr txBox="1"/>
          <p:nvPr/>
        </p:nvSpPr>
        <p:spPr>
          <a:xfrm>
            <a:off x="1900597" y="1696778"/>
            <a:ext cx="1840353"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Zalando</a:t>
            </a:r>
          </a:p>
        </p:txBody>
      </p:sp>
      <p:sp>
        <p:nvSpPr>
          <p:cNvPr id="20" name="TextBox 19">
            <a:extLst>
              <a:ext uri="{FF2B5EF4-FFF2-40B4-BE49-F238E27FC236}">
                <a16:creationId xmlns:a16="http://schemas.microsoft.com/office/drawing/2014/main" id="{8BC02F85-542C-62AC-AE9B-960CD2FC3FDC}"/>
              </a:ext>
            </a:extLst>
          </p:cNvPr>
          <p:cNvSpPr txBox="1"/>
          <p:nvPr/>
        </p:nvSpPr>
        <p:spPr>
          <a:xfrm>
            <a:off x="-109609" y="1726290"/>
            <a:ext cx="1630828"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ChatGPT</a:t>
            </a:r>
            <a:endParaRPr lang="en-US" sz="1400" b="1" kern="0">
              <a:solidFill>
                <a:srgbClr val="000000"/>
              </a:solidFill>
              <a:cs typeface="Arial"/>
              <a:sym typeface="Arial"/>
            </a:endParaRPr>
          </a:p>
        </p:txBody>
      </p:sp>
      <p:sp>
        <p:nvSpPr>
          <p:cNvPr id="8" name="Rectangle 7">
            <a:extLst>
              <a:ext uri="{FF2B5EF4-FFF2-40B4-BE49-F238E27FC236}">
                <a16:creationId xmlns:a16="http://schemas.microsoft.com/office/drawing/2014/main" id="{A68D5E23-72DC-7317-3E70-7D71B7BA80BC}"/>
              </a:ext>
            </a:extLst>
          </p:cNvPr>
          <p:cNvSpPr/>
          <p:nvPr/>
        </p:nvSpPr>
        <p:spPr>
          <a:xfrm>
            <a:off x="334496" y="5776431"/>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ffectiveness, Efficiency</a:t>
            </a:r>
          </a:p>
        </p:txBody>
      </p:sp>
    </p:spTree>
    <p:extLst>
      <p:ext uri="{BB962C8B-B14F-4D97-AF65-F5344CB8AC3E}">
        <p14:creationId xmlns:p14="http://schemas.microsoft.com/office/powerpoint/2010/main" val="11537178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257E0-F739-DD58-C0B7-649C78D50C4E}"/>
              </a:ext>
            </a:extLst>
          </p:cNvPr>
          <p:cNvSpPr>
            <a:spLocks noGrp="1"/>
          </p:cNvSpPr>
          <p:nvPr>
            <p:ph type="title"/>
          </p:nvPr>
        </p:nvSpPr>
        <p:spPr/>
        <p:txBody>
          <a:bodyPr/>
          <a:lstStyle/>
          <a:p>
            <a:r>
              <a:rPr lang="en-US"/>
              <a:t>Customer Support</a:t>
            </a:r>
          </a:p>
        </p:txBody>
      </p:sp>
      <p:sp>
        <p:nvSpPr>
          <p:cNvPr id="3" name="TextBox 2">
            <a:extLst>
              <a:ext uri="{FF2B5EF4-FFF2-40B4-BE49-F238E27FC236}">
                <a16:creationId xmlns:a16="http://schemas.microsoft.com/office/drawing/2014/main" id="{13A35328-1F2C-9337-DCBF-E59FE842D5A3}"/>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40625662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VerSe Innovation increased their CTRs by 70% with the help of Pepper Content</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VerSe Innovation is a content technology platform company which found it  difficult to scale content creation in the stipulated time – Company was targeting Tier 2 and Tier 3 cities to expand their reach and tap into newer markets. They wanted to reach these audiences in their preferred language. This expansion would help the company to reach a wider range of customer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384995"/>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Pepper Content’s platform helped Verse to create, manage, and track their content efficiently. Example – it allowed them to easily collaborate with teams and individual contributors, which simplifies the content creation process and speeds up the time it takes to create new content</a:t>
            </a:r>
          </a:p>
          <a:p>
            <a:pPr algn="just" defTabSz="914400">
              <a:buClr>
                <a:srgbClr val="000000"/>
              </a:buClr>
            </a:pPr>
            <a:r>
              <a:rPr lang="en-US" sz="1400" kern="0">
                <a:solidFill>
                  <a:srgbClr val="000000"/>
                </a:solidFill>
                <a:cs typeface="Arial"/>
                <a:sym typeface="Arial"/>
              </a:rPr>
              <a:t>Does the heavy lifting of finding the right creators for all the campaigns</a:t>
            </a:r>
          </a:p>
          <a:p>
            <a:pPr algn="just" defTabSz="914400">
              <a:buClr>
                <a:srgbClr val="000000"/>
              </a:buClr>
            </a:pPr>
            <a:r>
              <a:rPr lang="en-US" sz="1400" kern="0">
                <a:solidFill>
                  <a:srgbClr val="000000"/>
                </a:solidFill>
                <a:cs typeface="Arial"/>
                <a:sym typeface="Arial"/>
              </a:rPr>
              <a:t>Scale content creation, allowing Versa to create more content in a shorter time. It assembles and deploys a team of native-language experts for thi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70% increase in click-through rate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50% improvement in turnaround time</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5 languages Localized</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Entertainment</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699526"/>
            <a:ext cx="1159984" cy="523220"/>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Pepper Content</a:t>
            </a:r>
            <a:endParaRPr lang="en-US" sz="1400" b="1" kern="0">
              <a:solidFill>
                <a:srgbClr val="000000"/>
              </a:solidFill>
              <a:cs typeface="Arial"/>
              <a:sym typeface="Arial"/>
            </a:endParaRPr>
          </a:p>
        </p:txBody>
      </p:sp>
      <p:sp>
        <p:nvSpPr>
          <p:cNvPr id="2" name="TextBox 1">
            <a:extLst>
              <a:ext uri="{FF2B5EF4-FFF2-40B4-BE49-F238E27FC236}">
                <a16:creationId xmlns:a16="http://schemas.microsoft.com/office/drawing/2014/main" id="{A9A1176E-2350-9C69-FF3C-C8723FF5B0AD}"/>
              </a:ext>
            </a:extLst>
          </p:cNvPr>
          <p:cNvSpPr txBox="1"/>
          <p:nvPr/>
        </p:nvSpPr>
        <p:spPr>
          <a:xfrm>
            <a:off x="3869619" y="6060349"/>
            <a:ext cx="6488954" cy="9233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endParaRPr lang="en-US" sz="1000" b="1"/>
          </a:p>
          <a:p>
            <a:pPr defTabSz="914400">
              <a:lnSpc>
                <a:spcPct val="90000"/>
              </a:lnSpc>
              <a:defRPr/>
            </a:pPr>
            <a:r>
              <a:rPr lang="en-US" sz="1000" b="1"/>
              <a:t>Client/Other Source</a:t>
            </a:r>
            <a:r>
              <a:rPr lang="en-US" sz="1000"/>
              <a:t>: </a:t>
            </a:r>
            <a:r>
              <a:rPr lang="en-US" sz="1000">
                <a:hlinkClick r:id="rId6"/>
              </a:rPr>
              <a:t>https://www.peppercontent.io/customers/case-study/how-verse-innovation-increased-their-ctrs-by-70/</a:t>
            </a:r>
            <a:r>
              <a:rPr lang="en-US" sz="1000"/>
              <a:t> </a:t>
            </a:r>
          </a:p>
          <a:p>
            <a:pPr defTabSz="914400">
              <a:lnSpc>
                <a:spcPct val="90000"/>
              </a:lnSpc>
              <a:defRPr/>
            </a:pPr>
            <a:r>
              <a:rPr lang="en-US" sz="1000" b="1"/>
              <a:t>Publish Date: 6/</a:t>
            </a:r>
            <a:r>
              <a:rPr lang="en-US" sz="1000"/>
              <a:t>2023</a:t>
            </a:r>
          </a:p>
          <a:p>
            <a:pPr defTabSz="914400">
              <a:lnSpc>
                <a:spcPct val="90000"/>
              </a:lnSpc>
              <a:defRPr/>
            </a:pPr>
            <a:endParaRPr lang="en-US" sz="1000"/>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5"/>
            <a:ext cx="2520000" cy="497761"/>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Quality, Process Redesign, Cycle Time</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12" name="TextBox 11">
            <a:extLst>
              <a:ext uri="{FF2B5EF4-FFF2-40B4-BE49-F238E27FC236}">
                <a16:creationId xmlns:a16="http://schemas.microsoft.com/office/drawing/2014/main" id="{ED068275-98D4-1ABC-E400-49374805B7D1}"/>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45CD18E2-5331-87BA-3003-2EDAC4808930}"/>
              </a:ext>
            </a:extLst>
          </p:cNvPr>
          <p:cNvSpPr txBox="1"/>
          <p:nvPr/>
        </p:nvSpPr>
        <p:spPr>
          <a:xfrm>
            <a:off x="2134495" y="1689557"/>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VerSe</a:t>
            </a:r>
          </a:p>
        </p:txBody>
      </p:sp>
      <p:sp>
        <p:nvSpPr>
          <p:cNvPr id="15" name="TextBox 14">
            <a:extLst>
              <a:ext uri="{FF2B5EF4-FFF2-40B4-BE49-F238E27FC236}">
                <a16:creationId xmlns:a16="http://schemas.microsoft.com/office/drawing/2014/main" id="{DD256B53-782F-2F56-F24C-250A1DEA7966}"/>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FF59E696-6EEE-1422-8A84-3693AC62D482}"/>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Customer Suppor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14F333D-F2A5-E02D-DBA3-4090954DCF06}"/>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54</a:t>
            </a:r>
          </a:p>
        </p:txBody>
      </p:sp>
    </p:spTree>
    <p:extLst>
      <p:ext uri="{BB962C8B-B14F-4D97-AF65-F5344CB8AC3E}">
        <p14:creationId xmlns:p14="http://schemas.microsoft.com/office/powerpoint/2010/main" val="36782328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Lime provides fast, scalable service with a 77% reduction in response time </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A micro mobility company Lime's support center functioned manually before Forethought, with each agent handling every type of ticket. Agents often had to switch between Google Translate and their cases to respond to common inquiries. Lime wanted to prioritize support tickets based on their level of criticality and assign agents specially trained to handle these inquirie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384995"/>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Lime uses Forethought Triage to route tickets to the right agent based on their language, with dedicated speakers in certain language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Lime uses custom tags and triggers to prioritize support cases based on language and category classifications, allowing for more critical inquiries to be handled first</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Forethought Solve interpreted customer requests and searched knowledge articles to provide accurate response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27% of cases automated</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2.5 million tags for language and category</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98% of support tickets tagged automatically</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77% reduction in time to first response</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Transportation</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7" y="5765016"/>
            <a:ext cx="3513753" cy="459284"/>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Customer Support, Customer Satisfaction, Productivity, Quality, Time to Resolution</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DDD98BBC-4556-1693-072E-2BBE1B1F7B66}"/>
              </a:ext>
            </a:extLst>
          </p:cNvPr>
          <p:cNvSpPr txBox="1"/>
          <p:nvPr/>
        </p:nvSpPr>
        <p:spPr>
          <a:xfrm>
            <a:off x="3869618" y="6060349"/>
            <a:ext cx="6554541" cy="923330"/>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forethought.ai/case-studies/lime-case-study/#:~:text=Automating%20to%20Scale%20Support&amp;text=With%20Triage%2C%20Lime%20automates%20the,in%20time%20to%20first%20response</a:t>
            </a:r>
            <a:r>
              <a:rPr lang="en-US" sz="1000"/>
              <a:t>. </a:t>
            </a:r>
          </a:p>
          <a:p>
            <a:pPr defTabSz="914400">
              <a:lnSpc>
                <a:spcPct val="90000"/>
              </a:lnSpc>
              <a:defRPr/>
            </a:pPr>
            <a:r>
              <a:rPr lang="en-US" sz="1000" b="1"/>
              <a:t>Client/Other Source: </a:t>
            </a:r>
          </a:p>
          <a:p>
            <a:pPr defTabSz="914400">
              <a:lnSpc>
                <a:spcPct val="90000"/>
              </a:lnSpc>
              <a:defRPr/>
            </a:pPr>
            <a:r>
              <a:rPr lang="en-US" sz="1000" b="1"/>
              <a:t>Publish Date: 6/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6E8DCE24-5DA3-0A7F-F39B-77755F1B473A}"/>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A47CFF1A-9EC7-F9B2-C01F-2E2C4A69F0F4}"/>
              </a:ext>
            </a:extLst>
          </p:cNvPr>
          <p:cNvSpPr txBox="1"/>
          <p:nvPr/>
        </p:nvSpPr>
        <p:spPr>
          <a:xfrm>
            <a:off x="2145624" y="1758068"/>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Lime</a:t>
            </a:r>
          </a:p>
        </p:txBody>
      </p:sp>
      <p:sp>
        <p:nvSpPr>
          <p:cNvPr id="15" name="TextBox 14">
            <a:extLst>
              <a:ext uri="{FF2B5EF4-FFF2-40B4-BE49-F238E27FC236}">
                <a16:creationId xmlns:a16="http://schemas.microsoft.com/office/drawing/2014/main" id="{220758C7-E42E-E0F9-399D-D1C2B7B2FA90}"/>
              </a:ext>
            </a:extLst>
          </p:cNvPr>
          <p:cNvSpPr txBox="1"/>
          <p:nvPr/>
        </p:nvSpPr>
        <p:spPr>
          <a:xfrm>
            <a:off x="167800" y="1745246"/>
            <a:ext cx="1254663"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Forethought</a:t>
            </a:r>
            <a:endParaRPr lang="en-US" sz="1400" b="1" kern="0">
              <a:solidFill>
                <a:srgbClr val="000000"/>
              </a:solidFill>
              <a:cs typeface="Arial"/>
              <a:sym typeface="Arial"/>
            </a:endParaRPr>
          </a:p>
        </p:txBody>
      </p:sp>
      <p:sp>
        <p:nvSpPr>
          <p:cNvPr id="16" name="TextBox 15">
            <a:extLst>
              <a:ext uri="{FF2B5EF4-FFF2-40B4-BE49-F238E27FC236}">
                <a16:creationId xmlns:a16="http://schemas.microsoft.com/office/drawing/2014/main" id="{36371F17-132C-4277-18AE-5127D07BFD9A}"/>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7" name="TextBox 16">
            <a:extLst>
              <a:ext uri="{FF2B5EF4-FFF2-40B4-BE49-F238E27FC236}">
                <a16:creationId xmlns:a16="http://schemas.microsoft.com/office/drawing/2014/main" id="{1B849AEF-A3F8-2EAD-24F1-7D11CE2B986A}"/>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Customer Suppor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8" name="TextBox 17">
            <a:extLst>
              <a:ext uri="{FF2B5EF4-FFF2-40B4-BE49-F238E27FC236}">
                <a16:creationId xmlns:a16="http://schemas.microsoft.com/office/drawing/2014/main" id="{AC8E4DAE-AA60-28FC-03F9-35FA31F64619}"/>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59</a:t>
            </a:r>
          </a:p>
        </p:txBody>
      </p:sp>
    </p:spTree>
    <p:extLst>
      <p:ext uri="{BB962C8B-B14F-4D97-AF65-F5344CB8AC3E}">
        <p14:creationId xmlns:p14="http://schemas.microsoft.com/office/powerpoint/2010/main" val="8255675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Upwork reduces time to resolution by 50% </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Upwork, a work marketplace, required consistency across its diverse support agents to provide timely responses to customers' inquiries. This required consistent access to answers, consistent training, and accurate responses. However, the challenge of searching and delivering these resources was challenging, highlighting the need for improved consistency.</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43439" y="2966393"/>
            <a:ext cx="7911128" cy="1600438"/>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Upwork utilized Solve's chat widget to quickly understand complex chat inquiries and provide the perfect answer from support documents rather than relying on keywords and decision-trees to get to the root of the support inquiry</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 Workflow Builder enables the support team to create short, simple workflows, eliminating the need for lengthy articles and allowing them to instantly understand the sentiment of each ticket.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Solve Email ensures freelancers receive accurate answers to support inquirie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44464" y="4890798"/>
            <a:ext cx="7954975" cy="1169551"/>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99% accuracy in customer support responses from Solve email</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52-65% self-serve rate via chat widget vs 45% of previous provider</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575K inquiries resolved within chat widget.</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50% self-serve rate for emails. 800 emails deflected per week</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50% reduction in ticket closing time,100% queue completion.</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32958"/>
            <a:ext cx="2138993" cy="523220"/>
          </a:xfrm>
          <a:prstGeom prst="rect">
            <a:avLst/>
          </a:prstGeom>
          <a:noFill/>
        </p:spPr>
        <p:txBody>
          <a:bodyPr wrap="square" rtlCol="0">
            <a:spAutoFit/>
          </a:bodyPr>
          <a:lstStyle/>
          <a:p>
            <a:pPr defTabSz="914400">
              <a:buClr>
                <a:srgbClr val="000000"/>
              </a:buClr>
              <a:defRPr/>
            </a:pPr>
            <a:r>
              <a:rPr kumimoji="0" lang="en-US" sz="1400" b="0" i="0" u="none" strike="noStrike" kern="0" cap="none" spc="0" normalizeH="0" baseline="0" noProof="0">
                <a:ln>
                  <a:noFill/>
                </a:ln>
                <a:solidFill>
                  <a:srgbClr val="000000"/>
                </a:solidFill>
                <a:effectLst/>
                <a:uLnTx/>
                <a:uFillTx/>
                <a:cs typeface="Arial"/>
                <a:sym typeface="Arial"/>
              </a:rPr>
              <a:t>HR and Employment Service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15588" y="1653806"/>
            <a:ext cx="1250903"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Forethought</a:t>
            </a:r>
            <a:endParaRPr lang="en-US" sz="1400" b="1" kern="0">
              <a:solidFill>
                <a:srgbClr val="000000"/>
              </a:solidFill>
              <a:cs typeface="Arial"/>
              <a:sym typeface="Arial"/>
            </a:endParaRPr>
          </a:p>
        </p:txBody>
      </p:sp>
      <p:sp>
        <p:nvSpPr>
          <p:cNvPr id="760" name="TextBox 759">
            <a:extLst>
              <a:ext uri="{FF2B5EF4-FFF2-40B4-BE49-F238E27FC236}">
                <a16:creationId xmlns:a16="http://schemas.microsoft.com/office/drawing/2014/main" id="{16F0A96B-3D1E-E8DF-AC52-46F2C43A756E}"/>
              </a:ext>
            </a:extLst>
          </p:cNvPr>
          <p:cNvSpPr txBox="1"/>
          <p:nvPr/>
        </p:nvSpPr>
        <p:spPr>
          <a:xfrm>
            <a:off x="2136858" y="1596838"/>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Upwork</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433098"/>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Quality, Customer Satisfaction</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1A63C857-CB9D-28D7-B678-FFE68D2D6590}"/>
              </a:ext>
            </a:extLst>
          </p:cNvPr>
          <p:cNvSpPr txBox="1"/>
          <p:nvPr/>
        </p:nvSpPr>
        <p:spPr>
          <a:xfrm>
            <a:off x="3869618" y="6060349"/>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forethought.ai/case-studies/upwork/#challenges</a:t>
            </a:r>
            <a:r>
              <a:rPr lang="en-US" sz="1000"/>
              <a:t> </a:t>
            </a:r>
          </a:p>
          <a:p>
            <a:pPr defTabSz="914400">
              <a:lnSpc>
                <a:spcPct val="90000"/>
              </a:lnSpc>
              <a:defRPr/>
            </a:pPr>
            <a:r>
              <a:rPr lang="en-US" sz="1000" b="1"/>
              <a:t>Client/Other Source:</a:t>
            </a:r>
          </a:p>
          <a:p>
            <a:pPr defTabSz="914400">
              <a:lnSpc>
                <a:spcPct val="90000"/>
              </a:lnSpc>
              <a:defRPr/>
            </a:pPr>
            <a:r>
              <a:rPr lang="en-US" sz="1000" b="1"/>
              <a:t>Publish Date: 5/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8EB44DFB-AE25-72E6-DBC8-46C98E90E306}"/>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78635D75-9AD0-CC30-059D-099D69F2F505}"/>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7BABF9C3-055E-6046-6CD5-C28DA69775D9}"/>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Customer Suppor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EAAD7618-C1A1-5DDE-D688-53F972AD2FE5}"/>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53</a:t>
            </a:r>
          </a:p>
        </p:txBody>
      </p:sp>
    </p:spTree>
    <p:extLst>
      <p:ext uri="{BB962C8B-B14F-4D97-AF65-F5344CB8AC3E}">
        <p14:creationId xmlns:p14="http://schemas.microsoft.com/office/powerpoint/2010/main" val="4610316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err="1">
                <a:solidFill>
                  <a:srgbClr val="172A54"/>
                </a:solidFill>
                <a:latin typeface="Arial Black"/>
                <a:ea typeface="Arial Black"/>
                <a:cs typeface="Arial Black"/>
                <a:sym typeface="Arial Black"/>
              </a:rPr>
              <a:t>iFIT</a:t>
            </a:r>
            <a:r>
              <a:rPr lang="en-US" sz="3200" b="1" kern="0">
                <a:solidFill>
                  <a:srgbClr val="172A54"/>
                </a:solidFill>
                <a:latin typeface="Arial Black"/>
                <a:ea typeface="Arial Black"/>
                <a:cs typeface="Arial Black"/>
                <a:sym typeface="Arial Black"/>
              </a:rPr>
              <a:t> saves 436 agent hour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iFIT, a global health and fitness subscription company, utilized an ineffective chatbot for support, necessitating manual changes by technical administrators. Agents had limited access to resources, members struggled to find information, and the support team manually classified cases with limited data, requiring clearer data for resource decision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384995"/>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iFIT uses Forethought's Solve, which leverages generative AI and Natural Language Understanding to improve customer experience. With Workflow Builder, iFIT's customer support team builds automated workflows and receives data-driven recommendations for knowledge articles, making it easier to provide customers with the right answers quickly</a:t>
            </a:r>
          </a:p>
          <a:p>
            <a:pPr algn="just" defTabSz="914400">
              <a:buClr>
                <a:srgbClr val="000000"/>
              </a:buClr>
            </a:pPr>
            <a:r>
              <a:rPr lang="en-US" sz="1400" kern="0">
                <a:solidFill>
                  <a:srgbClr val="000000"/>
                </a:solidFill>
                <a:cs typeface="Arial"/>
                <a:sym typeface="Arial"/>
              </a:rPr>
              <a:t>Discover’ leverages GenAI to automate support workflows and improve cost savings by analyzing past support interactions and recommending workflow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9478" y="4883169"/>
            <a:ext cx="7954975" cy="1169551"/>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436 agent hours saved</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82% accuracy in predictions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33% deflection</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20,000 instant chat resolution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39,000 emails deflected</a:t>
            </a:r>
            <a:endParaRPr lang="en-US" sz="1400" b="1" kern="0">
              <a:solidFill>
                <a:srgbClr val="00000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14616"/>
            <a:ext cx="2138993" cy="523220"/>
          </a:xfrm>
          <a:prstGeom prst="rect">
            <a:avLst/>
          </a:prstGeom>
          <a:noFill/>
        </p:spPr>
        <p:txBody>
          <a:bodyPr wrap="square" rtlCol="0">
            <a:spAutoFit/>
          </a:bodyPr>
          <a:lstStyle/>
          <a:p>
            <a:pPr defTabSz="914400">
              <a:buClr>
                <a:srgbClr val="000000"/>
              </a:buClr>
              <a:defRPr/>
            </a:pPr>
            <a:r>
              <a:rPr lang="en-US" sz="1400" kern="0">
                <a:solidFill>
                  <a:srgbClr val="000000"/>
                </a:solidFill>
                <a:cs typeface="Arial"/>
                <a:sym typeface="Arial"/>
              </a:rPr>
              <a:t>Leisure Products (Health &amp; Fitness)</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167800" y="1761103"/>
            <a:ext cx="1362078"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Forethought</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	</a:t>
            </a:r>
          </a:p>
        </p:txBody>
      </p:sp>
      <p:sp>
        <p:nvSpPr>
          <p:cNvPr id="13" name="Rectangle 12">
            <a:extLst>
              <a:ext uri="{FF2B5EF4-FFF2-40B4-BE49-F238E27FC236}">
                <a16:creationId xmlns:a16="http://schemas.microsoft.com/office/drawing/2014/main" id="{A55D2298-5195-C0E4-B136-A0B1A68F1344}"/>
              </a:ext>
            </a:extLst>
          </p:cNvPr>
          <p:cNvSpPr/>
          <p:nvPr/>
        </p:nvSpPr>
        <p:spPr>
          <a:xfrm>
            <a:off x="332837" y="5765016"/>
            <a:ext cx="3262317"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Customer Satisfaction, Productivity, Quality, Customer Churn, Time to Resolution		</a:t>
            </a:r>
            <a:endParaRPr lang="en-IN" sz="12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	</a:t>
            </a:r>
          </a:p>
        </p:txBody>
      </p:sp>
      <p:sp>
        <p:nvSpPr>
          <p:cNvPr id="3" name="TextBox 2">
            <a:extLst>
              <a:ext uri="{FF2B5EF4-FFF2-40B4-BE49-F238E27FC236}">
                <a16:creationId xmlns:a16="http://schemas.microsoft.com/office/drawing/2014/main" id="{F367A8B5-B1C8-4D67-C820-A541462A9419}"/>
              </a:ext>
            </a:extLst>
          </p:cNvPr>
          <p:cNvSpPr txBox="1"/>
          <p:nvPr/>
        </p:nvSpPr>
        <p:spPr>
          <a:xfrm>
            <a:off x="3869618" y="6052720"/>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forethought.ai/case-studies/ifit </a:t>
            </a:r>
            <a:endParaRPr lang="en-US" sz="1000"/>
          </a:p>
          <a:p>
            <a:pPr defTabSz="914400">
              <a:lnSpc>
                <a:spcPct val="90000"/>
              </a:lnSpc>
              <a:defRPr/>
            </a:pPr>
            <a:r>
              <a:rPr lang="en-US" sz="1000" b="1"/>
              <a:t>Client/Other Source: </a:t>
            </a:r>
            <a:endParaRPr lang="en-US" sz="1000"/>
          </a:p>
          <a:p>
            <a:pPr defTabSz="914400">
              <a:lnSpc>
                <a:spcPct val="90000"/>
              </a:lnSpc>
              <a:defRPr/>
            </a:pPr>
            <a:r>
              <a:rPr lang="en-US" sz="1000" b="1"/>
              <a:t>Publish Date: 6/2023</a:t>
            </a:r>
          </a:p>
          <a:p>
            <a:pPr defTabSz="914400">
              <a:lnSpc>
                <a:spcPct val="90000"/>
              </a:lnSpc>
              <a:defRPr/>
            </a:pPr>
            <a:endParaRPr lang="en-US" sz="1000"/>
          </a:p>
        </p:txBody>
      </p:sp>
      <p:sp>
        <p:nvSpPr>
          <p:cNvPr id="2" name="TextBox 1">
            <a:extLst>
              <a:ext uri="{FF2B5EF4-FFF2-40B4-BE49-F238E27FC236}">
                <a16:creationId xmlns:a16="http://schemas.microsoft.com/office/drawing/2014/main" id="{C240A490-87CE-4EDC-6D8B-5FAB6AF91D26}"/>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B290EE79-E674-B37A-0F64-B2B29C67D82E}"/>
              </a:ext>
            </a:extLst>
          </p:cNvPr>
          <p:cNvSpPr txBox="1"/>
          <p:nvPr/>
        </p:nvSpPr>
        <p:spPr>
          <a:xfrm>
            <a:off x="2190187" y="1749873"/>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iFIT</a:t>
            </a:r>
          </a:p>
        </p:txBody>
      </p:sp>
      <p:sp>
        <p:nvSpPr>
          <p:cNvPr id="15" name="TextBox 14">
            <a:extLst>
              <a:ext uri="{FF2B5EF4-FFF2-40B4-BE49-F238E27FC236}">
                <a16:creationId xmlns:a16="http://schemas.microsoft.com/office/drawing/2014/main" id="{8CAA255C-FF76-5837-5A98-D323FB0AE82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94D4D0AC-B287-2073-143D-E948874E046E}"/>
              </a:ext>
            </a:extLst>
          </p:cNvPr>
          <p:cNvSpPr txBox="1"/>
          <p:nvPr/>
        </p:nvSpPr>
        <p:spPr>
          <a:xfrm>
            <a:off x="2320663" y="2752765"/>
            <a:ext cx="1906280"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Customer Suppor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314A5A5A-C772-9449-9583-D03F1B3122B8}"/>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56</a:t>
            </a:r>
          </a:p>
        </p:txBody>
      </p:sp>
    </p:spTree>
    <p:extLst>
      <p:ext uri="{BB962C8B-B14F-4D97-AF65-F5344CB8AC3E}">
        <p14:creationId xmlns:p14="http://schemas.microsoft.com/office/powerpoint/2010/main" val="41591953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2500" b="1" kern="0">
                <a:solidFill>
                  <a:srgbClr val="172A54"/>
                </a:solidFill>
                <a:latin typeface="Arial Black"/>
                <a:ea typeface="Arial Black"/>
                <a:cs typeface="Arial Black"/>
                <a:sym typeface="Arial Black"/>
              </a:rPr>
              <a:t>CarMax increasing customer prospecting efforts and enhancing the customer experience using Azure OpenAI </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492443"/>
          </a:xfrm>
          <a:prstGeom prst="rect">
            <a:avLst/>
          </a:prstGeom>
          <a:noFill/>
        </p:spPr>
        <p:txBody>
          <a:bodyPr wrap="square" rtlCol="0">
            <a:spAutoFit/>
          </a:bodyPr>
          <a:lstStyle/>
          <a:p>
            <a:pPr algn="just" defTabSz="914400">
              <a:buClr>
                <a:srgbClr val="000000"/>
              </a:buClr>
            </a:pPr>
            <a:r>
              <a:rPr lang="en-US" sz="1300" kern="0">
                <a:solidFill>
                  <a:srgbClr val="000000"/>
                </a:solidFill>
                <a:cs typeface="Arial"/>
                <a:sym typeface="Arial"/>
              </a:rPr>
              <a:t>CarMax, an omnichannel used-car retailer utilizes Azure OpenAI to enhance content creation for car research pages, elevating customer experience and bolstering prospecting effort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0926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CarMax used GPT-3.5's "iteration on prompts" for data on thousands of used cars.</a:t>
            </a:r>
          </a:p>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Small dataset fine-tuned in DaVinci model for mass publishing.</a:t>
            </a:r>
          </a:p>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Few-shot learning benefits CarMax’s 60+ product teams, no need for extra data scientists.</a:t>
            </a:r>
          </a:p>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AI-generated car content simplifies buying for consumers and content creation.</a:t>
            </a:r>
          </a:p>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Cloud-based OpenAI API extracts millions, not thousands of keyword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9478" y="4883208"/>
            <a:ext cx="7954975" cy="10926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CarMax.com experienced growth in inventory, views, reviews, and sales.</a:t>
            </a:r>
          </a:p>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Higher customer traffic boosted revenue.</a:t>
            </a:r>
          </a:p>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Surge in page views and improved SEO drove business growth.</a:t>
            </a:r>
          </a:p>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Generated content in hours instead of years, avoiding hiring many writers.</a:t>
            </a:r>
          </a:p>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DaVinci model reduced need for costly data scientists, saving IT costs.</a:t>
            </a:r>
            <a:endParaRPr lang="en-US" sz="1300" b="1" kern="0">
              <a:solidFill>
                <a:srgbClr val="00000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Auto</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36919" y="1717920"/>
            <a:ext cx="1573658" cy="523220"/>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Microsoft Azure OpenAI Service</a:t>
            </a:r>
            <a:endParaRPr lang="en-US" sz="1400" b="1" kern="0">
              <a:solidFill>
                <a:srgbClr val="000000"/>
              </a:solidFill>
              <a:cs typeface="Arial"/>
              <a:sym typeface="Arial"/>
            </a:endParaRPr>
          </a:p>
        </p:txBody>
      </p:sp>
      <p:sp>
        <p:nvSpPr>
          <p:cNvPr id="760" name="TextBox 759">
            <a:extLst>
              <a:ext uri="{FF2B5EF4-FFF2-40B4-BE49-F238E27FC236}">
                <a16:creationId xmlns:a16="http://schemas.microsoft.com/office/drawing/2014/main" id="{16F0A96B-3D1E-E8DF-AC52-46F2C43A756E}"/>
              </a:ext>
            </a:extLst>
          </p:cNvPr>
          <p:cNvSpPr txBox="1"/>
          <p:nvPr/>
        </p:nvSpPr>
        <p:spPr>
          <a:xfrm>
            <a:off x="2090039" y="1794086"/>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CarMax</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7" y="5765015"/>
            <a:ext cx="2677781"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Customer Acquisition, Productiv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EFF0230A-CF7E-2305-B869-D466C35CD911}"/>
              </a:ext>
            </a:extLst>
          </p:cNvPr>
          <p:cNvSpPr txBox="1"/>
          <p:nvPr/>
        </p:nvSpPr>
        <p:spPr>
          <a:xfrm>
            <a:off x="3869618" y="6060349"/>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www.cio.com/article/475487/carmax-drives-business-value-with-gpt-3-5.html</a:t>
            </a:r>
            <a:endParaRPr lang="en-US" sz="1000"/>
          </a:p>
          <a:p>
            <a:pPr defTabSz="914400">
              <a:lnSpc>
                <a:spcPct val="90000"/>
              </a:lnSpc>
              <a:defRPr/>
            </a:pPr>
            <a:r>
              <a:rPr lang="en-US" sz="1000" b="1"/>
              <a:t>Publish Date: 5/</a:t>
            </a:r>
            <a:r>
              <a:rPr lang="en-US" sz="1000"/>
              <a:t>2023</a:t>
            </a:r>
          </a:p>
          <a:p>
            <a:pPr defTabSz="914400">
              <a:lnSpc>
                <a:spcPct val="90000"/>
              </a:lnSpc>
              <a:defRPr/>
            </a:pPr>
            <a:endParaRPr lang="en-US" sz="1000"/>
          </a:p>
        </p:txBody>
      </p:sp>
      <p:sp>
        <p:nvSpPr>
          <p:cNvPr id="2" name="TextBox 1">
            <a:extLst>
              <a:ext uri="{FF2B5EF4-FFF2-40B4-BE49-F238E27FC236}">
                <a16:creationId xmlns:a16="http://schemas.microsoft.com/office/drawing/2014/main" id="{26623F6D-152C-E8BD-62BE-C3D6C1AB69B9}"/>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2BE95F84-12BD-CB27-B602-C3B073F98B61}"/>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4" name="TextBox 13">
            <a:extLst>
              <a:ext uri="{FF2B5EF4-FFF2-40B4-BE49-F238E27FC236}">
                <a16:creationId xmlns:a16="http://schemas.microsoft.com/office/drawing/2014/main" id="{FEFDC215-DFC3-76FC-BFCD-06B887F789E3}"/>
              </a:ext>
            </a:extLst>
          </p:cNvPr>
          <p:cNvSpPr txBox="1"/>
          <p:nvPr/>
        </p:nvSpPr>
        <p:spPr>
          <a:xfrm>
            <a:off x="2260291" y="2753118"/>
            <a:ext cx="178314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rketing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5" name="TextBox 14">
            <a:extLst>
              <a:ext uri="{FF2B5EF4-FFF2-40B4-BE49-F238E27FC236}">
                <a16:creationId xmlns:a16="http://schemas.microsoft.com/office/drawing/2014/main" id="{E610F064-39E6-E65D-495A-BE2E34B07FB6}"/>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15</a:t>
            </a:r>
          </a:p>
        </p:txBody>
      </p:sp>
    </p:spTree>
    <p:extLst>
      <p:ext uri="{BB962C8B-B14F-4D97-AF65-F5344CB8AC3E}">
        <p14:creationId xmlns:p14="http://schemas.microsoft.com/office/powerpoint/2010/main" val="24534337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Solo Stove reduced its digital inquiry workload by 32% by combining live agents with automation</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Solo Stove, a smokeless fire pit manufacturer and retailer, aimed to  Quickly scale its support team while minimizing the need for new hires and onboarding.  They also sought to provide a high-quality customer support experience consistently Additionally they wanted to provide a new chatbot that doesn’t require a dedicated employee to train and maintain a bot 40 hours a week</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Solo Stove partnered with Simplr to deliver a customer experience that parallels its brand voice and high-quality services. Through the EngageNow Suite, Simplr’s fully managed solution that combines the Human Cloud Network and chatbot, the company automates and resolves 42% of its live chat inquiries without any human intervention.</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9478" y="4879864"/>
            <a:ext cx="7954975"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From fortifying its support team with live agents to upgrading its chatbot experience, Solo Stove saw great results and ha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32% reduction in digital inquiry workload</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Automate 42% of live chat inquirie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A 4.7/5 CSAT average across all channels (chatbot, live chat, email)</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Retail</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50511" y="1800019"/>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Simplr</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fficiency, Customer Satisfaction</a:t>
            </a: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	</a:t>
            </a:r>
          </a:p>
        </p:txBody>
      </p:sp>
      <p:sp>
        <p:nvSpPr>
          <p:cNvPr id="3" name="TextBox 2">
            <a:extLst>
              <a:ext uri="{FF2B5EF4-FFF2-40B4-BE49-F238E27FC236}">
                <a16:creationId xmlns:a16="http://schemas.microsoft.com/office/drawing/2014/main" id="{4D8FD7ED-5087-1999-736A-A55715165D67}"/>
              </a:ext>
            </a:extLst>
          </p:cNvPr>
          <p:cNvSpPr txBox="1"/>
          <p:nvPr/>
        </p:nvSpPr>
        <p:spPr>
          <a:xfrm>
            <a:off x="3869618" y="6052720"/>
            <a:ext cx="6554541" cy="923330"/>
          </a:xfrm>
          <a:prstGeom prst="rect">
            <a:avLst/>
          </a:prstGeom>
          <a:noFill/>
        </p:spPr>
        <p:txBody>
          <a:bodyPr wrap="square" lIns="0" rIns="0" rtlCol="0">
            <a:spAutoFit/>
          </a:bodyPr>
          <a:lstStyle/>
          <a:p>
            <a:pPr defTabSz="914400">
              <a:lnSpc>
                <a:spcPct val="90000"/>
              </a:lnSpc>
              <a:defRPr/>
            </a:pPr>
            <a:r>
              <a:rPr lang="en-US" sz="1000" b="1"/>
              <a:t>Vendor Source</a:t>
            </a:r>
            <a:r>
              <a:rPr lang="en-US" sz="1000"/>
              <a:t>: </a:t>
            </a:r>
            <a:r>
              <a:rPr lang="en-US" sz="1000">
                <a:hlinkClick r:id="rId6"/>
              </a:rPr>
              <a:t>https://www.simplr.ai/reviews-customer-stories/solostove-reduced-its-digital-inquiry-workload-with-simplr</a:t>
            </a:r>
            <a:r>
              <a:rPr lang="en-US" sz="1000"/>
              <a:t> </a:t>
            </a:r>
          </a:p>
          <a:p>
            <a:pPr defTabSz="914400">
              <a:lnSpc>
                <a:spcPct val="90000"/>
              </a:lnSpc>
              <a:defRPr/>
            </a:pPr>
            <a:r>
              <a:rPr lang="en-US" sz="1000" b="1"/>
              <a:t>Client/Other Source: </a:t>
            </a:r>
            <a:r>
              <a:rPr lang="en-US" sz="1000">
                <a:hlinkClick r:id="rId7"/>
              </a:rPr>
              <a:t>https://www.prnewswire.com/news-releases/solo-stove-partners-with-simplr-to-launch-first-generative-ai-chatbot-in-the-outdoor-recreation-space-301876217.html</a:t>
            </a:r>
            <a:r>
              <a:rPr lang="en-US" sz="1000"/>
              <a:t> </a:t>
            </a:r>
          </a:p>
          <a:p>
            <a:pPr defTabSz="914400">
              <a:lnSpc>
                <a:spcPct val="90000"/>
              </a:lnSpc>
              <a:defRPr/>
            </a:pPr>
            <a:r>
              <a:rPr lang="en-US" sz="1000" b="1"/>
              <a:t>Publish Date: 7/2023</a:t>
            </a:r>
          </a:p>
          <a:p>
            <a:pPr defTabSz="914400">
              <a:lnSpc>
                <a:spcPct val="90000"/>
              </a:lnSpc>
              <a:defRPr/>
            </a:pPr>
            <a:endParaRPr lang="en-US" sz="1000"/>
          </a:p>
        </p:txBody>
      </p:sp>
      <p:sp>
        <p:nvSpPr>
          <p:cNvPr id="2" name="TextBox 1">
            <a:extLst>
              <a:ext uri="{FF2B5EF4-FFF2-40B4-BE49-F238E27FC236}">
                <a16:creationId xmlns:a16="http://schemas.microsoft.com/office/drawing/2014/main" id="{DA528B75-33FF-274B-2445-7EFE861D539C}"/>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1FCDE450-3465-DDED-7ADA-114B0056A4F5}"/>
              </a:ext>
            </a:extLst>
          </p:cNvPr>
          <p:cNvSpPr txBox="1"/>
          <p:nvPr/>
        </p:nvSpPr>
        <p:spPr>
          <a:xfrm>
            <a:off x="2178219" y="1795502"/>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Solo Stove</a:t>
            </a:r>
          </a:p>
        </p:txBody>
      </p:sp>
      <p:sp>
        <p:nvSpPr>
          <p:cNvPr id="15" name="TextBox 14">
            <a:extLst>
              <a:ext uri="{FF2B5EF4-FFF2-40B4-BE49-F238E27FC236}">
                <a16:creationId xmlns:a16="http://schemas.microsoft.com/office/drawing/2014/main" id="{51C2DBC4-7A92-7294-BA39-E26CADA21491}"/>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8870E8C9-FDEF-9B41-5CD6-F8E24F445664}"/>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Customer Suppor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F9D597F-B30F-F5FD-2E4F-B59C991BB571}"/>
              </a:ext>
            </a:extLst>
          </p:cNvPr>
          <p:cNvSpPr txBox="1"/>
          <p:nvPr/>
        </p:nvSpPr>
        <p:spPr>
          <a:xfrm>
            <a:off x="10282639" y="5954961"/>
            <a:ext cx="1665521" cy="338554"/>
          </a:xfrm>
          <a:prstGeom prst="rect">
            <a:avLst/>
          </a:prstGeom>
          <a:noFill/>
        </p:spPr>
        <p:txBody>
          <a:bodyPr wrap="none" lIns="0" rIns="0" rtlCol="0">
            <a:spAutoFit/>
          </a:bodyPr>
          <a:lstStyle/>
          <a:p>
            <a:pPr algn="l">
              <a:spcBef>
                <a:spcPts val="600"/>
              </a:spcBef>
            </a:pPr>
            <a:r>
              <a:rPr lang="en-US" sz="1600"/>
              <a:t>Case Study ID: 80</a:t>
            </a:r>
          </a:p>
        </p:txBody>
      </p:sp>
    </p:spTree>
    <p:extLst>
      <p:ext uri="{BB962C8B-B14F-4D97-AF65-F5344CB8AC3E}">
        <p14:creationId xmlns:p14="http://schemas.microsoft.com/office/powerpoint/2010/main" val="28893069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257E0-F739-DD58-C0B7-649C78D50C4E}"/>
              </a:ext>
            </a:extLst>
          </p:cNvPr>
          <p:cNvSpPr>
            <a:spLocks noGrp="1"/>
          </p:cNvSpPr>
          <p:nvPr>
            <p:ph type="title"/>
          </p:nvPr>
        </p:nvSpPr>
        <p:spPr/>
        <p:txBody>
          <a:bodyPr/>
          <a:lstStyle/>
          <a:p>
            <a:r>
              <a:rPr lang="en-US"/>
              <a:t>Document Search and Summary</a:t>
            </a:r>
          </a:p>
        </p:txBody>
      </p:sp>
      <p:sp>
        <p:nvSpPr>
          <p:cNvPr id="3" name="TextBox 2">
            <a:extLst>
              <a:ext uri="{FF2B5EF4-FFF2-40B4-BE49-F238E27FC236}">
                <a16:creationId xmlns:a16="http://schemas.microsoft.com/office/drawing/2014/main" id="{DA9AC3E6-9148-20B2-1F45-0799E4D53E61}"/>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28066026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McKinsey "Lilli"  is an AI platform aggregating their knowledge and capabilitie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McKinsey’s "Lilli” is a generative AI platform that enables a streamlined search and synthesis of the firm's vast knowledge stores. The platform, which includes over 40 knowledge sources, 100,000 documents, and a global network, optimizes the initial project planning process, providing diverse and rapid answers to complex queries, reducing research time to two week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3" y="2957110"/>
            <a:ext cx="7911128" cy="1815882"/>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Lilli's functionalitie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Scans entire knowledge landscape. Provides 5-7 most relevant content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Includes links and expert identifications. The technology creation was straightforward.</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Biggest challenge: Integrating multiple functions (legal, cybersecurity, etc.) to implement Lilli.</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eam expanded to 70+ experts, with a goal to scale Lilli across the firm by year's end. McKinsey had pre-existing "data stewards" worldwide.</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se stewards maintain data accuracy, confidentiality, and shareability.</a:t>
            </a:r>
          </a:p>
          <a:p>
            <a:pPr algn="just" defTabSz="914400">
              <a:buClr>
                <a:srgbClr val="000000"/>
              </a:buClr>
            </a:pPr>
            <a:r>
              <a:rPr lang="en-US" sz="1400" kern="0">
                <a:solidFill>
                  <a:srgbClr val="000000"/>
                </a:solidFill>
                <a:cs typeface="Arial"/>
                <a:sym typeface="Arial"/>
              </a:rPr>
              <a:t>.</a:t>
            </a:r>
            <a:endParaRPr lang="en-IN" sz="1400" b="1" kern="0">
              <a:solidFill>
                <a:srgbClr val="000000"/>
              </a:solidFill>
              <a:cs typeface="Arial"/>
              <a:sym typeface="Arial"/>
            </a:endParaRP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Lets teams focus more on problem-solving and client relations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Enables team to use Lilli to enhance argument quality and self-educate.</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Lilli saves up to 20% of the prep time for meeting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Lilli has unleashed unexpected creative potential in McKinsey's teams.</a:t>
            </a:r>
            <a:endParaRPr lang="en-US" sz="1400" b="1" kern="0">
              <a:solidFill>
                <a:srgbClr val="00000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Consulting</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61430"/>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OpenAI</a:t>
            </a:r>
            <a:endParaRPr lang="en-US" sz="1400" b="1" kern="0">
              <a:solidFill>
                <a:srgbClr val="000000"/>
              </a:solidFill>
              <a:cs typeface="Arial"/>
              <a:sym typeface="Arial"/>
            </a:endParaRPr>
          </a:p>
        </p:txBody>
      </p:sp>
      <p:sp>
        <p:nvSpPr>
          <p:cNvPr id="760" name="TextBox 759">
            <a:extLst>
              <a:ext uri="{FF2B5EF4-FFF2-40B4-BE49-F238E27FC236}">
                <a16:creationId xmlns:a16="http://schemas.microsoft.com/office/drawing/2014/main" id="{16F0A96B-3D1E-E8DF-AC52-46F2C43A756E}"/>
              </a:ext>
            </a:extLst>
          </p:cNvPr>
          <p:cNvSpPr txBox="1"/>
          <p:nvPr/>
        </p:nvSpPr>
        <p:spPr>
          <a:xfrm>
            <a:off x="2136858" y="1761430"/>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McKinsey</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Qual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High Value: Cross Processes </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A8C2C6DF-1B02-23C4-25BD-05646691C627}"/>
              </a:ext>
            </a:extLst>
          </p:cNvPr>
          <p:cNvSpPr txBox="1"/>
          <p:nvPr/>
        </p:nvSpPr>
        <p:spPr>
          <a:xfrm>
            <a:off x="3869618" y="6060349"/>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www.mckinsey.com/about-us/new-at-mckinsey-blog/meet-lilli-our-generative-ai-tool?cid=soc-web</a:t>
            </a:r>
            <a:endParaRPr lang="en-US" sz="1000"/>
          </a:p>
          <a:p>
            <a:pPr defTabSz="914400">
              <a:lnSpc>
                <a:spcPct val="90000"/>
              </a:lnSpc>
              <a:defRPr/>
            </a:pPr>
            <a:r>
              <a:rPr lang="en-US" sz="1000" b="1"/>
              <a:t>Publish Date: 8/</a:t>
            </a:r>
            <a:r>
              <a:rPr lang="en-US" sz="1000"/>
              <a:t>2023</a:t>
            </a:r>
          </a:p>
          <a:p>
            <a:pPr defTabSz="914400">
              <a:lnSpc>
                <a:spcPct val="90000"/>
              </a:lnSpc>
              <a:defRPr/>
            </a:pPr>
            <a:endParaRPr lang="en-US" sz="1000"/>
          </a:p>
        </p:txBody>
      </p:sp>
      <p:sp>
        <p:nvSpPr>
          <p:cNvPr id="12" name="TextBox 11">
            <a:extLst>
              <a:ext uri="{FF2B5EF4-FFF2-40B4-BE49-F238E27FC236}">
                <a16:creationId xmlns:a16="http://schemas.microsoft.com/office/drawing/2014/main" id="{06FB3391-BDFA-C889-4E58-8D636CD5CE2A}"/>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8" name="TextBox 7">
            <a:extLst>
              <a:ext uri="{FF2B5EF4-FFF2-40B4-BE49-F238E27FC236}">
                <a16:creationId xmlns:a16="http://schemas.microsoft.com/office/drawing/2014/main" id="{98D0D1E4-88D8-5B90-27D9-C6B0BD2ED1D2}"/>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4" name="TextBox 13">
            <a:extLst>
              <a:ext uri="{FF2B5EF4-FFF2-40B4-BE49-F238E27FC236}">
                <a16:creationId xmlns:a16="http://schemas.microsoft.com/office/drawing/2014/main" id="{7AF7A207-1B37-88A7-81F7-ED0FDBF33AF2}"/>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Document Search &amp; Summariz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5" name="TextBox 14">
            <a:extLst>
              <a:ext uri="{FF2B5EF4-FFF2-40B4-BE49-F238E27FC236}">
                <a16:creationId xmlns:a16="http://schemas.microsoft.com/office/drawing/2014/main" id="{1AA088AE-3022-5B73-64B0-D29F21E9981C}"/>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43</a:t>
            </a:r>
          </a:p>
        </p:txBody>
      </p:sp>
    </p:spTree>
    <p:extLst>
      <p:ext uri="{BB962C8B-B14F-4D97-AF65-F5344CB8AC3E}">
        <p14:creationId xmlns:p14="http://schemas.microsoft.com/office/powerpoint/2010/main" val="42357386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37033" y="4725263"/>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PwC brings private generative AI tool to internal employee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36008" y="4770859"/>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PwC’s conversational generative AI tool built with OpenAI’s tech and fine-tuned with tax and regulation data. The company aims to enhance the knowledge base of employees on plugin configuration and code prompting, focusing on understanding how to ask the right questions for optimal answers and identify potential errors or hallucination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43439" y="2955039"/>
            <a:ext cx="7911128" cy="1384995"/>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PwC has developed an AI tool for tax questions and regulations, available to around 1,000 employees. The tool is part of PwC's 3-year, $1 billion AI roadmap, aiming to enhance AI offerings for clients, foster tech company partnerships, and upskill 65,000 employees. The goal is to provide access to the tool to all 75,000 US employees and roll it out globally, tailoring AI upskilling to different departments and roles. The tool will focus on asking the right questions and spotting inaccuracies, with engineering and tech sectors receiving deeper training in data science.</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9478" y="5091641"/>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PwC plans to provide access to its generative AI tool to all 75,000 U.S. employees, with the aim of implementing it globally.</a:t>
            </a:r>
            <a:endParaRPr lang="en-US" sz="1400" b="1" kern="0">
              <a:solidFill>
                <a:srgbClr val="00000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Consulting</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644662"/>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OpenAI</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Qual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43A526DF-9FA6-FCAB-8C23-0FDC1411837D}"/>
              </a:ext>
            </a:extLst>
          </p:cNvPr>
          <p:cNvSpPr txBox="1"/>
          <p:nvPr/>
        </p:nvSpPr>
        <p:spPr>
          <a:xfrm>
            <a:off x="3869618" y="6060349"/>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www.ciodive.com/news/PwC-generative-AI-investment-upskilling-ChatPwC/690820/</a:t>
            </a:r>
            <a:endParaRPr lang="en-US" sz="1000"/>
          </a:p>
          <a:p>
            <a:pPr defTabSz="914400">
              <a:lnSpc>
                <a:spcPct val="90000"/>
              </a:lnSpc>
              <a:defRPr/>
            </a:pPr>
            <a:r>
              <a:rPr lang="en-US" sz="1000" b="1"/>
              <a:t>Publish Date: 8/</a:t>
            </a:r>
            <a:r>
              <a:rPr lang="en-US" sz="1000"/>
              <a:t>2023</a:t>
            </a:r>
          </a:p>
          <a:p>
            <a:pPr defTabSz="914400">
              <a:lnSpc>
                <a:spcPct val="90000"/>
              </a:lnSpc>
              <a:defRPr/>
            </a:pP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2DCFF568-61E9-1010-57BD-4EEA6817F6D5}"/>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C777AF89-48D0-D533-EFCD-7F9BB506BE1B}"/>
              </a:ext>
            </a:extLst>
          </p:cNvPr>
          <p:cNvSpPr txBox="1"/>
          <p:nvPr/>
        </p:nvSpPr>
        <p:spPr>
          <a:xfrm>
            <a:off x="2229933" y="1642507"/>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PwC</a:t>
            </a:r>
          </a:p>
        </p:txBody>
      </p:sp>
      <p:sp>
        <p:nvSpPr>
          <p:cNvPr id="14" name="TextBox 13">
            <a:extLst>
              <a:ext uri="{FF2B5EF4-FFF2-40B4-BE49-F238E27FC236}">
                <a16:creationId xmlns:a16="http://schemas.microsoft.com/office/drawing/2014/main" id="{EEB6BFAB-5A6A-DDAE-9611-ACC3A5BC70E5}"/>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B26065C2-8DC0-F243-B428-E71F0CC165E1}"/>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Document Search &amp; Summariz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CC68B993-EC58-F184-6951-70E539EB652E}"/>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44</a:t>
            </a:r>
          </a:p>
        </p:txBody>
      </p:sp>
    </p:spTree>
    <p:extLst>
      <p:ext uri="{BB962C8B-B14F-4D97-AF65-F5344CB8AC3E}">
        <p14:creationId xmlns:p14="http://schemas.microsoft.com/office/powerpoint/2010/main" val="24306866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Ericsson’s updated global search tool: Using LLM for faster, context-aware information retrieval</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11346" y="1550138"/>
            <a:ext cx="7954975"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Ericsson, a telecommunications company, uses its in-house search engine, Global Search Tool (GST), to assist employees in finding information on the intranet. However, the search quality and relevance have often not met expectations, with users often receiving irrelevant or incomplete results, requiring extensive search or requesting assistance from colleagues, to find the appropriate answer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Ericsson has enhanced its Global Search Tool by incorporating LLM trained on Ericsson content and integrated with various knowledge systems. </a:t>
            </a:r>
          </a:p>
          <a:p>
            <a:pPr algn="just" defTabSz="914400">
              <a:buClr>
                <a:srgbClr val="000000"/>
              </a:buClr>
            </a:pPr>
            <a:r>
              <a:rPr lang="en-US" sz="1400" kern="0">
                <a:solidFill>
                  <a:srgbClr val="000000"/>
                </a:solidFill>
                <a:cs typeface="Arial"/>
                <a:sym typeface="Arial"/>
              </a:rPr>
              <a:t>This tool provides accurate summaries, faster information, and context-preserving responses. Its consistent accuracy and tailored information have led to users increasingly relying on it for meaningful and timely information, making it a valuable resource for Ericsson.</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new Global Search Tool resulted in information retrieval to be personalized, efficient, and interactive. Employees have benefitted from contextual answers, quick problem-solving, and a deeper understanding of available documents, which has enhanced productivity and fostered a knowledge-based culture.</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Telecommunication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26958"/>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OpenAI</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Qual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8" name="TextBox 7">
            <a:extLst>
              <a:ext uri="{FF2B5EF4-FFF2-40B4-BE49-F238E27FC236}">
                <a16:creationId xmlns:a16="http://schemas.microsoft.com/office/drawing/2014/main" id="{2823302F-F061-94FD-BD5A-8986C16403B0}"/>
              </a:ext>
            </a:extLst>
          </p:cNvPr>
          <p:cNvSpPr txBox="1"/>
          <p:nvPr/>
        </p:nvSpPr>
        <p:spPr>
          <a:xfrm>
            <a:off x="3869618" y="6060349"/>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www.ericsson.com/en/blog/2023/8/applied-generative-ai-for-enterprise</a:t>
            </a:r>
            <a:endParaRPr lang="en-US" sz="1000"/>
          </a:p>
          <a:p>
            <a:pPr defTabSz="914400">
              <a:lnSpc>
                <a:spcPct val="90000"/>
              </a:lnSpc>
              <a:defRPr/>
            </a:pPr>
            <a:r>
              <a:rPr lang="en-US" sz="1000" b="1"/>
              <a:t>Publish Date: 8/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20C123A4-2D76-B81C-BC60-DECCAA5E2C0C}"/>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906747DE-F678-57F2-6969-3A3FE6031CD8}"/>
              </a:ext>
            </a:extLst>
          </p:cNvPr>
          <p:cNvSpPr txBox="1"/>
          <p:nvPr/>
        </p:nvSpPr>
        <p:spPr>
          <a:xfrm>
            <a:off x="2229933" y="1724803"/>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Ericsson</a:t>
            </a:r>
          </a:p>
        </p:txBody>
      </p:sp>
      <p:sp>
        <p:nvSpPr>
          <p:cNvPr id="14" name="TextBox 13">
            <a:extLst>
              <a:ext uri="{FF2B5EF4-FFF2-40B4-BE49-F238E27FC236}">
                <a16:creationId xmlns:a16="http://schemas.microsoft.com/office/drawing/2014/main" id="{FDCD76A9-D3F6-7852-3BB0-9CE21B009411}"/>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1B4F3FBC-8928-0E14-87BA-C9151DEF823A}"/>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Document Search &amp; Summariz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B40793AE-B145-2EA2-B396-0DB11207A7DF}"/>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37</a:t>
            </a:r>
          </a:p>
        </p:txBody>
      </p:sp>
    </p:spTree>
    <p:extLst>
      <p:ext uri="{BB962C8B-B14F-4D97-AF65-F5344CB8AC3E}">
        <p14:creationId xmlns:p14="http://schemas.microsoft.com/office/powerpoint/2010/main" val="32581804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How Morgan Stanley is training GPT to help financial advisor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Morgan Stanley leveraged GPT-4 for investment related knowledge management process such as  access, process, and synthesize content to assimilate their own expansive range of intellectual capital in the form of insights into companies, sectors, asset classes, capital markets, and regions around the world. </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Morgan Stanley is experimenting with GPT-4, identifying content in over 100,000 documents for its 16,000 financial advisors to ask questions about investment recommendations, general business, and process. The technology has been fine-tuned and used as a training corpus, ensuring GPT-4 can effectively answer these questions.</a:t>
            </a:r>
            <a:endParaRPr lang="en-IN" sz="1400" b="1" kern="0">
              <a:solidFill>
                <a:srgbClr val="000000"/>
              </a:solidFill>
              <a:cs typeface="Arial"/>
              <a:sym typeface="Arial"/>
            </a:endParaRP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It helps to enhance the insights from Financial Advisors’ notes and streamline follow-up client communications. It helps to identify personalized investment ideas and distribute ideas and messages of interest to particular clients. </a:t>
            </a:r>
            <a:endParaRPr lang="en-US" sz="1400" b="1" kern="0">
              <a:solidFill>
                <a:srgbClr val="00000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Finance</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662950"/>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ChatGPT</a:t>
            </a:r>
            <a:endParaRPr lang="en-US" sz="1400" b="1" kern="0">
              <a:solidFill>
                <a:srgbClr val="000000"/>
              </a:solidFill>
              <a:cs typeface="Arial"/>
              <a:sym typeface="Arial"/>
            </a:endParaRPr>
          </a:p>
        </p:txBody>
      </p:sp>
      <p:sp>
        <p:nvSpPr>
          <p:cNvPr id="760" name="TextBox 759">
            <a:extLst>
              <a:ext uri="{FF2B5EF4-FFF2-40B4-BE49-F238E27FC236}">
                <a16:creationId xmlns:a16="http://schemas.microsoft.com/office/drawing/2014/main" id="{16F0A96B-3D1E-E8DF-AC52-46F2C43A756E}"/>
              </a:ext>
            </a:extLst>
          </p:cNvPr>
          <p:cNvSpPr txBox="1"/>
          <p:nvPr/>
        </p:nvSpPr>
        <p:spPr>
          <a:xfrm>
            <a:off x="2136858" y="1639998"/>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Morgan Stanley</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7" y="5765016"/>
            <a:ext cx="2781397" cy="433098"/>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ased Productivity, Effectiveness</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8" name="TextBox 7">
            <a:extLst>
              <a:ext uri="{FF2B5EF4-FFF2-40B4-BE49-F238E27FC236}">
                <a16:creationId xmlns:a16="http://schemas.microsoft.com/office/drawing/2014/main" id="{CB3BE010-BD97-8E88-B3D1-68E29238C3F7}"/>
              </a:ext>
            </a:extLst>
          </p:cNvPr>
          <p:cNvSpPr txBox="1"/>
          <p:nvPr/>
        </p:nvSpPr>
        <p:spPr>
          <a:xfrm>
            <a:off x="3869618" y="6060349"/>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www.forbes.com/sites/tomdavenport/2023/03/20/how-morgan-stanley-is-training-gpt-to-help-financial-advisors/?sh=5a39bfb63fc3</a:t>
            </a:r>
            <a:endParaRPr lang="en-US" sz="1000"/>
          </a:p>
          <a:p>
            <a:pPr defTabSz="914400">
              <a:lnSpc>
                <a:spcPct val="90000"/>
              </a:lnSpc>
              <a:defRPr/>
            </a:pPr>
            <a:r>
              <a:rPr lang="en-US" sz="1000" b="1"/>
              <a:t>Publish Date: 9</a:t>
            </a:r>
            <a:r>
              <a:rPr lang="en-US" sz="1000"/>
              <a:t>/2023</a:t>
            </a:r>
          </a:p>
          <a:p>
            <a:pPr defTabSz="914400">
              <a:lnSpc>
                <a:spcPct val="90000"/>
              </a:lnSpc>
              <a:defRPr/>
            </a:pPr>
            <a:endParaRPr lang="en-US" sz="1000"/>
          </a:p>
        </p:txBody>
      </p:sp>
      <p:sp>
        <p:nvSpPr>
          <p:cNvPr id="2" name="TextBox 1">
            <a:extLst>
              <a:ext uri="{FF2B5EF4-FFF2-40B4-BE49-F238E27FC236}">
                <a16:creationId xmlns:a16="http://schemas.microsoft.com/office/drawing/2014/main" id="{B2B4B230-B5FD-CD65-650B-2517B0150510}"/>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8A5EEA79-57AE-7B85-B815-C3C71491183D}"/>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4" name="TextBox 13">
            <a:extLst>
              <a:ext uri="{FF2B5EF4-FFF2-40B4-BE49-F238E27FC236}">
                <a16:creationId xmlns:a16="http://schemas.microsoft.com/office/drawing/2014/main" id="{2EE68430-715B-FC4A-3BFC-273E392CBB72}"/>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Document Search &amp; Summariz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5" name="TextBox 14">
            <a:extLst>
              <a:ext uri="{FF2B5EF4-FFF2-40B4-BE49-F238E27FC236}">
                <a16:creationId xmlns:a16="http://schemas.microsoft.com/office/drawing/2014/main" id="{A45CA6C9-F6EC-5E0F-63CB-56F736AE5B7D}"/>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87</a:t>
            </a:r>
          </a:p>
        </p:txBody>
      </p:sp>
    </p:spTree>
    <p:extLst>
      <p:ext uri="{BB962C8B-B14F-4D97-AF65-F5344CB8AC3E}">
        <p14:creationId xmlns:p14="http://schemas.microsoft.com/office/powerpoint/2010/main" val="3157923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257E0-F739-DD58-C0B7-649C78D50C4E}"/>
              </a:ext>
            </a:extLst>
          </p:cNvPr>
          <p:cNvSpPr>
            <a:spLocks noGrp="1"/>
          </p:cNvSpPr>
          <p:nvPr>
            <p:ph type="title"/>
          </p:nvPr>
        </p:nvSpPr>
        <p:spPr/>
        <p:txBody>
          <a:bodyPr/>
          <a:lstStyle/>
          <a:p>
            <a:r>
              <a:rPr lang="en-US"/>
              <a:t>Fast Cycle Innovation</a:t>
            </a:r>
          </a:p>
        </p:txBody>
      </p:sp>
      <p:sp>
        <p:nvSpPr>
          <p:cNvPr id="3" name="TextBox 2">
            <a:extLst>
              <a:ext uri="{FF2B5EF4-FFF2-40B4-BE49-F238E27FC236}">
                <a16:creationId xmlns:a16="http://schemas.microsoft.com/office/drawing/2014/main" id="{3F6FA7D3-01F0-9157-EE77-8BB9C3A7245B}"/>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20677234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2500" b="1" kern="0">
                <a:solidFill>
                  <a:srgbClr val="172A54"/>
                </a:solidFill>
                <a:latin typeface="Arial Black"/>
                <a:ea typeface="Arial Black"/>
                <a:cs typeface="Arial Black"/>
                <a:sym typeface="Arial Black"/>
              </a:rPr>
              <a:t>Ericsson’s Generative AI Playground: Integrating LLMs with enterprise standards for enhanced learning and value creation</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1092607"/>
          </a:xfrm>
          <a:prstGeom prst="rect">
            <a:avLst/>
          </a:prstGeom>
          <a:noFill/>
        </p:spPr>
        <p:txBody>
          <a:bodyPr wrap="square" rtlCol="0">
            <a:spAutoFit/>
          </a:bodyPr>
          <a:lstStyle/>
          <a:p>
            <a:pPr algn="just" defTabSz="914400">
              <a:buClr>
                <a:srgbClr val="000000"/>
              </a:buClr>
            </a:pPr>
            <a:r>
              <a:rPr lang="en-US" sz="1300" kern="0">
                <a:solidFill>
                  <a:srgbClr val="000000"/>
                </a:solidFill>
                <a:cs typeface="Arial"/>
                <a:sym typeface="Arial"/>
              </a:rPr>
              <a:t>The large interest and excitement around Generative AI is a great opportunity to leverage the value of this technology. However, it also poses a threat as usage of public LLMs can result in exposure and leakage of confidential and sensitive company data. Ericsson had to quickly find a robust and scalable system to leverage on the great opportunity of Generative AI, while maintaining necessary security and privacy standards and requirement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43439" y="2993583"/>
            <a:ext cx="7911128"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Ericsson built a Generative AI Playground, offering multiple LLMs for exploration, designed as per enterprise design guidelines and managing required privacy, security , and compliance matters.</a:t>
            </a:r>
          </a:p>
          <a:p>
            <a:pPr algn="just" defTabSz="914400">
              <a:buClr>
                <a:srgbClr val="000000"/>
              </a:buClr>
            </a:pPr>
            <a:r>
              <a:rPr lang="en-US" sz="1400" kern="0">
                <a:solidFill>
                  <a:srgbClr val="000000"/>
                </a:solidFill>
                <a:cs typeface="Arial"/>
                <a:sym typeface="Arial"/>
              </a:rPr>
              <a:t>By exposing the capabilities and opportunities of Generative AI to the full workforce, it accelerated the learning, adoption and value generation. It also facilitated to build a pipeline of transformative opportunities which generate disproportionate business value.</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10926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Ability to test the Generative AI offerings (LLMs) by multiple providers in a single pane of glass – fueling the learning, adoption and value realization</a:t>
            </a:r>
          </a:p>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Prompt catalog for best practice and efficient and effective utilization of models </a:t>
            </a:r>
          </a:p>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Secure environment with relevant privacy, security, and compliance measures</a:t>
            </a:r>
          </a:p>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Building pipeline of use cases across the organization</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Telecommunication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Quality, Fast Time to Value</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7F305365-29CA-C7B5-6E3F-210DC60ACF6E}"/>
              </a:ext>
            </a:extLst>
          </p:cNvPr>
          <p:cNvSpPr txBox="1"/>
          <p:nvPr/>
        </p:nvSpPr>
        <p:spPr>
          <a:xfrm>
            <a:off x="3911182" y="6129706"/>
            <a:ext cx="6554541" cy="646331"/>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www.ericsson.com/en/blog/2023/8/applied-generative-ai-for-enterprise</a:t>
            </a:r>
            <a:endParaRPr lang="en-US" sz="1000"/>
          </a:p>
          <a:p>
            <a:pPr defTabSz="914400">
              <a:lnSpc>
                <a:spcPct val="90000"/>
              </a:lnSpc>
              <a:defRPr/>
            </a:pPr>
            <a:r>
              <a:rPr lang="en-US" sz="1000" b="1"/>
              <a:t>Publish Date: 8/2023</a:t>
            </a:r>
          </a:p>
          <a:p>
            <a:pPr defTabSz="914400">
              <a:lnSpc>
                <a:spcPct val="90000"/>
              </a:lnSpc>
              <a:defRPr/>
            </a:pPr>
            <a:endParaRPr lang="en-US" sz="1000"/>
          </a:p>
        </p:txBody>
      </p:sp>
      <p:sp>
        <p:nvSpPr>
          <p:cNvPr id="2" name="TextBox 1">
            <a:extLst>
              <a:ext uri="{FF2B5EF4-FFF2-40B4-BE49-F238E27FC236}">
                <a16:creationId xmlns:a16="http://schemas.microsoft.com/office/drawing/2014/main" id="{8C275B1D-3497-1C2D-A937-151608D42AD5}"/>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5" name="TextBox 14">
            <a:extLst>
              <a:ext uri="{FF2B5EF4-FFF2-40B4-BE49-F238E27FC236}">
                <a16:creationId xmlns:a16="http://schemas.microsoft.com/office/drawing/2014/main" id="{E8A83B76-EA8D-C113-029A-573566691D5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60AFD7A3-3381-BC80-1030-669AFE6D746E}"/>
              </a:ext>
            </a:extLst>
          </p:cNvPr>
          <p:cNvSpPr txBox="1"/>
          <p:nvPr/>
        </p:nvSpPr>
        <p:spPr>
          <a:xfrm>
            <a:off x="2260291" y="2753118"/>
            <a:ext cx="178314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Fast Cycle Innov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485B9F8-9806-D2FC-8CAF-164905405243}"/>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38</a:t>
            </a:r>
          </a:p>
        </p:txBody>
      </p:sp>
      <p:sp>
        <p:nvSpPr>
          <p:cNvPr id="19" name="TextBox 18">
            <a:extLst>
              <a:ext uri="{FF2B5EF4-FFF2-40B4-BE49-F238E27FC236}">
                <a16:creationId xmlns:a16="http://schemas.microsoft.com/office/drawing/2014/main" id="{908584C9-8053-BAF4-2837-F31222763A77}"/>
              </a:ext>
            </a:extLst>
          </p:cNvPr>
          <p:cNvSpPr txBox="1"/>
          <p:nvPr/>
        </p:nvSpPr>
        <p:spPr>
          <a:xfrm>
            <a:off x="2229933" y="1724803"/>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Ericsson</a:t>
            </a:r>
          </a:p>
        </p:txBody>
      </p:sp>
      <p:sp>
        <p:nvSpPr>
          <p:cNvPr id="20" name="TextBox 19">
            <a:extLst>
              <a:ext uri="{FF2B5EF4-FFF2-40B4-BE49-F238E27FC236}">
                <a16:creationId xmlns:a16="http://schemas.microsoft.com/office/drawing/2014/main" id="{8BC02F85-542C-62AC-AE9B-960CD2FC3FDC}"/>
              </a:ext>
            </a:extLst>
          </p:cNvPr>
          <p:cNvSpPr txBox="1"/>
          <p:nvPr/>
        </p:nvSpPr>
        <p:spPr>
          <a:xfrm>
            <a:off x="235217" y="1718542"/>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OpenAI</a:t>
            </a:r>
            <a:endParaRPr lang="en-US" sz="1400" b="1" kern="0">
              <a:solidFill>
                <a:srgbClr val="000000"/>
              </a:solidFill>
              <a:cs typeface="Arial"/>
              <a:sym typeface="Arial"/>
            </a:endParaRPr>
          </a:p>
        </p:txBody>
      </p:sp>
    </p:spTree>
    <p:extLst>
      <p:ext uri="{BB962C8B-B14F-4D97-AF65-F5344CB8AC3E}">
        <p14:creationId xmlns:p14="http://schemas.microsoft.com/office/powerpoint/2010/main" val="15204353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257E0-F739-DD58-C0B7-649C78D50C4E}"/>
              </a:ext>
            </a:extLst>
          </p:cNvPr>
          <p:cNvSpPr>
            <a:spLocks noGrp="1"/>
          </p:cNvSpPr>
          <p:nvPr>
            <p:ph type="title"/>
          </p:nvPr>
        </p:nvSpPr>
        <p:spPr/>
        <p:txBody>
          <a:bodyPr/>
          <a:lstStyle/>
          <a:p>
            <a:r>
              <a:rPr lang="en-US"/>
              <a:t>Supply Chain Optimization</a:t>
            </a:r>
          </a:p>
        </p:txBody>
      </p:sp>
      <p:sp>
        <p:nvSpPr>
          <p:cNvPr id="3" name="TextBox 2">
            <a:extLst>
              <a:ext uri="{FF2B5EF4-FFF2-40B4-BE49-F238E27FC236}">
                <a16:creationId xmlns:a16="http://schemas.microsoft.com/office/drawing/2014/main" id="{BA06EC17-113B-9123-55AB-9B504D063A11}"/>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36185750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2800" b="1" kern="0" err="1">
                <a:solidFill>
                  <a:srgbClr val="172A54"/>
                </a:solidFill>
                <a:latin typeface="Arial Black"/>
                <a:ea typeface="Arial Black"/>
                <a:cs typeface="Arial Black"/>
                <a:sym typeface="Arial Black"/>
              </a:rPr>
              <a:t>HanesBrands</a:t>
            </a:r>
            <a:r>
              <a:rPr lang="en-US" sz="2800" b="1" kern="0">
                <a:solidFill>
                  <a:srgbClr val="172A54"/>
                </a:solidFill>
                <a:latin typeface="Arial Black"/>
                <a:ea typeface="Arial Black"/>
                <a:cs typeface="Arial Black"/>
                <a:sym typeface="Arial Black"/>
              </a:rPr>
              <a:t> leveraging GenAI in supply chain optimization effort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HanesBrands is implementing generative AI technology into its supply chain to answer complex questions and make such information available to all of its associate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43439" y="2993583"/>
            <a:ext cx="7911128"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AI assistant, powered by OpsVeda, integrates with various messaging tools and can help users gather data with natural language exchanges. The tool uses algorithms to interpret free-form queries and apply correct parameters based on the user's question.  This technology ensures customer confidentiality through encryption and anonymization processes. </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30777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HanesBrands is using GenAI for supply planning and inventory utilization. </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Retail</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fficienc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7F305365-29CA-C7B5-6E3F-210DC60ACF6E}"/>
              </a:ext>
            </a:extLst>
          </p:cNvPr>
          <p:cNvSpPr txBox="1"/>
          <p:nvPr/>
        </p:nvSpPr>
        <p:spPr>
          <a:xfrm>
            <a:off x="3911182" y="6129706"/>
            <a:ext cx="6554541" cy="646331"/>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consumergoods.com/hanesbrands-leveraging-gen-ai-supply-chain-optimization-efforts</a:t>
            </a:r>
            <a:endParaRPr lang="en-US" sz="1000"/>
          </a:p>
          <a:p>
            <a:pPr defTabSz="914400">
              <a:lnSpc>
                <a:spcPct val="90000"/>
              </a:lnSpc>
              <a:defRPr/>
            </a:pPr>
            <a:r>
              <a:rPr lang="en-US" sz="1000" b="1"/>
              <a:t>Publish Date: 10/2023</a:t>
            </a:r>
          </a:p>
          <a:p>
            <a:pPr defTabSz="914400">
              <a:lnSpc>
                <a:spcPct val="90000"/>
              </a:lnSpc>
              <a:defRPr/>
            </a:pPr>
            <a:endParaRPr lang="en-US" sz="1000"/>
          </a:p>
        </p:txBody>
      </p:sp>
      <p:sp>
        <p:nvSpPr>
          <p:cNvPr id="2" name="TextBox 1">
            <a:extLst>
              <a:ext uri="{FF2B5EF4-FFF2-40B4-BE49-F238E27FC236}">
                <a16:creationId xmlns:a16="http://schemas.microsoft.com/office/drawing/2014/main" id="{8C275B1D-3497-1C2D-A937-151608D42AD5}"/>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5" name="TextBox 14">
            <a:extLst>
              <a:ext uri="{FF2B5EF4-FFF2-40B4-BE49-F238E27FC236}">
                <a16:creationId xmlns:a16="http://schemas.microsoft.com/office/drawing/2014/main" id="{E8A83B76-EA8D-C113-029A-573566691D5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60AFD7A3-3381-BC80-1030-669AFE6D746E}"/>
              </a:ext>
            </a:extLst>
          </p:cNvPr>
          <p:cNvSpPr txBox="1"/>
          <p:nvPr/>
        </p:nvSpPr>
        <p:spPr>
          <a:xfrm>
            <a:off x="2229932" y="2753118"/>
            <a:ext cx="1681249"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Supply Chain Optimiz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485B9F8-9806-D2FC-8CAF-164905405243}"/>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94</a:t>
            </a:r>
          </a:p>
        </p:txBody>
      </p:sp>
      <p:sp>
        <p:nvSpPr>
          <p:cNvPr id="19" name="TextBox 18">
            <a:extLst>
              <a:ext uri="{FF2B5EF4-FFF2-40B4-BE49-F238E27FC236}">
                <a16:creationId xmlns:a16="http://schemas.microsoft.com/office/drawing/2014/main" id="{908584C9-8053-BAF4-2837-F31222763A77}"/>
              </a:ext>
            </a:extLst>
          </p:cNvPr>
          <p:cNvSpPr txBox="1"/>
          <p:nvPr/>
        </p:nvSpPr>
        <p:spPr>
          <a:xfrm>
            <a:off x="2229933" y="1697371"/>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HanesBrands</a:t>
            </a:r>
          </a:p>
        </p:txBody>
      </p:sp>
      <p:sp>
        <p:nvSpPr>
          <p:cNvPr id="20" name="TextBox 19">
            <a:extLst>
              <a:ext uri="{FF2B5EF4-FFF2-40B4-BE49-F238E27FC236}">
                <a16:creationId xmlns:a16="http://schemas.microsoft.com/office/drawing/2014/main" id="{8BC02F85-542C-62AC-AE9B-960CD2FC3FDC}"/>
              </a:ext>
            </a:extLst>
          </p:cNvPr>
          <p:cNvSpPr txBox="1"/>
          <p:nvPr/>
        </p:nvSpPr>
        <p:spPr>
          <a:xfrm>
            <a:off x="0" y="1691110"/>
            <a:ext cx="1630828"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OpsVeda</a:t>
            </a:r>
            <a:endParaRPr lang="en-US" sz="1400" b="1" kern="0">
              <a:solidFill>
                <a:srgbClr val="000000"/>
              </a:solidFill>
              <a:cs typeface="Arial"/>
              <a:sym typeface="Arial"/>
            </a:endParaRPr>
          </a:p>
        </p:txBody>
      </p:sp>
    </p:spTree>
    <p:extLst>
      <p:ext uri="{BB962C8B-B14F-4D97-AF65-F5344CB8AC3E}">
        <p14:creationId xmlns:p14="http://schemas.microsoft.com/office/powerpoint/2010/main" val="13750699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One Search Pro doubled reply rates with the help of </a:t>
            </a:r>
            <a:r>
              <a:rPr lang="en-US" sz="3200" b="1" kern="0" err="1">
                <a:solidFill>
                  <a:srgbClr val="172A54"/>
                </a:solidFill>
                <a:latin typeface="Arial Black"/>
                <a:ea typeface="Arial Black"/>
                <a:cs typeface="Arial Black"/>
                <a:sym typeface="Arial Black"/>
              </a:rPr>
              <a:t>SmartWriter</a:t>
            </a:r>
            <a:endParaRPr lang="en-US" sz="3200" b="1" kern="0">
              <a:solidFill>
                <a:srgbClr val="172A54"/>
              </a:solidFill>
              <a:latin typeface="Arial Black"/>
              <a:ea typeface="Arial Black"/>
              <a:cs typeface="Arial Black"/>
              <a:sym typeface="Arial Black"/>
            </a:endParaRP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One Search Pro, a digital marketing agency wanted a more personable approach that would make clients feel valued and that they were not just cold emails. Analyzing each client and creating personalized email content for each of them is time-consuming and required lots of manpower to handle.</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3" y="2991980"/>
            <a:ext cx="7911128" cy="1600438"/>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Finding and Verifying Emails -- email search option enables to find and reach more potential clients. Also allows to verify the emails on mailing list</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Content Creation - SmartWriter provides a platform that allows users to select the purpose of an email and enter basic details. It then gathers relevant data from the internet and generates personalized email content using AI</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Personalized Backlink Outreach Emails -- AI tool reads through blogs and interpret them, allowing it to generate personalized outreach email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rough SmartWriter, One Search Pro saw a 200% Increase in Backlink Reply Rates - In 2 weeks doubled reply rates from 5% to 10% AND generated 10 backlinks in 3 week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23241"/>
            <a:ext cx="1999831" cy="523220"/>
          </a:xfrm>
          <a:prstGeom prst="rect">
            <a:avLst/>
          </a:prstGeom>
          <a:noFill/>
        </p:spPr>
        <p:txBody>
          <a:bodyPr wrap="square" rtlCol="0">
            <a:spAutoFit/>
          </a:bodyPr>
          <a:lstStyle/>
          <a:p>
            <a:pPr defTabSz="914400">
              <a:buClr>
                <a:srgbClr val="000000"/>
              </a:buClr>
              <a:defRPr/>
            </a:pPr>
            <a:r>
              <a:rPr kumimoji="0" lang="en-US" sz="1400" b="0" i="0" u="none" strike="noStrike" kern="0" cap="none" spc="0" normalizeH="0" baseline="0" noProof="0">
                <a:ln>
                  <a:noFill/>
                </a:ln>
                <a:solidFill>
                  <a:srgbClr val="000000"/>
                </a:solidFill>
                <a:effectLst/>
                <a:uLnTx/>
                <a:uFillTx/>
                <a:cs typeface="Arial"/>
                <a:sym typeface="Arial"/>
              </a:rPr>
              <a:t>Business/Productivity Software</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129185" y="1734635"/>
            <a:ext cx="1444390" cy="523220"/>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SmartWriter</a:t>
            </a:r>
            <a:endParaRPr lang="en-US" sz="1400" b="1" kern="0">
              <a:solidFill>
                <a:srgbClr val="000000"/>
              </a:solidFill>
              <a:cs typeface="Arial"/>
              <a:sym typeface="Arial"/>
            </a:endParaRPr>
          </a:p>
          <a:p>
            <a:pPr algn="ctr" defTabSz="914400">
              <a:buClr>
                <a:srgbClr val="000000"/>
              </a:buClr>
              <a:buFont typeface="Arial"/>
              <a:buNone/>
            </a:pP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7" y="5765015"/>
            <a:ext cx="3037035" cy="523221"/>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Cycle Time, Enhanced Customer Engagement, Personalization</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A342148D-C436-A34A-713E-964220FAAE8F}"/>
              </a:ext>
            </a:extLst>
          </p:cNvPr>
          <p:cNvSpPr txBox="1"/>
          <p:nvPr/>
        </p:nvSpPr>
        <p:spPr>
          <a:xfrm>
            <a:off x="3869618" y="6206995"/>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www.smartwriter.ai/case-studies/how-we-used-the-smartwriter-outreach-tool-to-transform-our-business-interactions?_sm_nck=1</a:t>
            </a:r>
            <a:endParaRPr lang="en-US" sz="1000"/>
          </a:p>
          <a:p>
            <a:pPr defTabSz="914400">
              <a:lnSpc>
                <a:spcPct val="90000"/>
              </a:lnSpc>
              <a:defRPr/>
            </a:pPr>
            <a:r>
              <a:rPr lang="en-US" sz="1000" b="1"/>
              <a:t>Publish Date: 06/2021</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11E62B39-0F66-1E7C-1544-CF99A3B30DCB}"/>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9A7C3842-92E6-588A-8424-27E05B94D18E}"/>
              </a:ext>
            </a:extLst>
          </p:cNvPr>
          <p:cNvSpPr txBox="1"/>
          <p:nvPr/>
        </p:nvSpPr>
        <p:spPr>
          <a:xfrm>
            <a:off x="2229933" y="1743091"/>
            <a:ext cx="1505115"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One Search Pro</a:t>
            </a:r>
          </a:p>
        </p:txBody>
      </p:sp>
      <p:sp>
        <p:nvSpPr>
          <p:cNvPr id="15" name="TextBox 14">
            <a:extLst>
              <a:ext uri="{FF2B5EF4-FFF2-40B4-BE49-F238E27FC236}">
                <a16:creationId xmlns:a16="http://schemas.microsoft.com/office/drawing/2014/main" id="{E8941478-2D6E-2EF9-40B8-BFB3C9B05EC8}"/>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66CDA134-4B94-30EC-C16C-9F8A2E05E179}"/>
              </a:ext>
            </a:extLst>
          </p:cNvPr>
          <p:cNvSpPr txBox="1"/>
          <p:nvPr/>
        </p:nvSpPr>
        <p:spPr>
          <a:xfrm>
            <a:off x="2260291" y="2753118"/>
            <a:ext cx="1609328" cy="7386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rketing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12169A69-0E8E-F917-52E7-533BF400965B}"/>
              </a:ext>
            </a:extLst>
          </p:cNvPr>
          <p:cNvSpPr txBox="1"/>
          <p:nvPr/>
        </p:nvSpPr>
        <p:spPr>
          <a:xfrm>
            <a:off x="8569828" y="5964515"/>
            <a:ext cx="1551707" cy="338554"/>
          </a:xfrm>
          <a:prstGeom prst="rect">
            <a:avLst/>
          </a:prstGeom>
          <a:noFill/>
        </p:spPr>
        <p:txBody>
          <a:bodyPr wrap="none" lIns="0" rIns="0" rtlCol="0">
            <a:spAutoFit/>
          </a:bodyPr>
          <a:lstStyle/>
          <a:p>
            <a:pPr algn="l">
              <a:spcBef>
                <a:spcPts val="600"/>
              </a:spcBef>
            </a:pPr>
            <a:r>
              <a:rPr lang="en-US" sz="1600"/>
              <a:t>Case Study ID: 5</a:t>
            </a:r>
          </a:p>
        </p:txBody>
      </p:sp>
    </p:spTree>
    <p:extLst>
      <p:ext uri="{BB962C8B-B14F-4D97-AF65-F5344CB8AC3E}">
        <p14:creationId xmlns:p14="http://schemas.microsoft.com/office/powerpoint/2010/main" val="20166857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257E0-F739-DD58-C0B7-649C78D50C4E}"/>
              </a:ext>
            </a:extLst>
          </p:cNvPr>
          <p:cNvSpPr>
            <a:spLocks noGrp="1"/>
          </p:cNvSpPr>
          <p:nvPr>
            <p:ph type="title"/>
          </p:nvPr>
        </p:nvSpPr>
        <p:spPr/>
        <p:txBody>
          <a:bodyPr/>
          <a:lstStyle/>
          <a:p>
            <a:r>
              <a:rPr lang="en-US"/>
              <a:t>Fraud Detection</a:t>
            </a:r>
          </a:p>
        </p:txBody>
      </p:sp>
      <p:sp>
        <p:nvSpPr>
          <p:cNvPr id="3" name="TextBox 2">
            <a:extLst>
              <a:ext uri="{FF2B5EF4-FFF2-40B4-BE49-F238E27FC236}">
                <a16:creationId xmlns:a16="http://schemas.microsoft.com/office/drawing/2014/main" id="{8BF063BE-D5F0-2AED-9F6D-C19A9CE16979}"/>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16152185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JPMorgan Chase using advanced AI to detect fraud</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38719"/>
          </a:xfrm>
          <a:prstGeom prst="rect">
            <a:avLst/>
          </a:prstGeom>
          <a:noFill/>
        </p:spPr>
        <p:txBody>
          <a:bodyPr wrap="square" rtlCol="0">
            <a:spAutoFit/>
          </a:bodyPr>
          <a:lstStyle/>
          <a:p>
            <a:pPr algn="just" defTabSz="914400">
              <a:buClr>
                <a:srgbClr val="000000"/>
              </a:buClr>
            </a:pPr>
            <a:r>
              <a:rPr lang="en-US" sz="1100" kern="0">
                <a:solidFill>
                  <a:srgbClr val="000000"/>
                </a:solidFill>
                <a:cs typeface="Arial"/>
                <a:sym typeface="Arial"/>
              </a:rPr>
              <a:t>Often fraudsters send an authentic-looking email that appears to be from a genuine vendor or partner. It might say the company is changing accounts, and that the recipient should send the money to a convincing but fake website the fraudsters have created. Whenever bank employees become suspicious of a corporate transaction and call clients to ask if they are sure they want to send the money, clients often initially say yes because they believe the transaction is legitimate. It's only when vendors call a few days later to say they never received payment that clients realize they were duped.</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43439" y="2993583"/>
            <a:ext cx="7911128" cy="1569660"/>
          </a:xfrm>
          <a:prstGeom prst="rect">
            <a:avLst/>
          </a:prstGeom>
          <a:noFill/>
        </p:spPr>
        <p:txBody>
          <a:bodyPr wrap="square" rtlCol="0">
            <a:spAutoFit/>
          </a:bodyPr>
          <a:lstStyle/>
          <a:p>
            <a:pPr algn="just" defTabSz="914400">
              <a:buClr>
                <a:srgbClr val="000000"/>
              </a:buClr>
            </a:pPr>
            <a:r>
              <a:rPr lang="en-US" sz="1200" kern="0">
                <a:solidFill>
                  <a:srgbClr val="000000"/>
                </a:solidFill>
                <a:cs typeface="Arial"/>
                <a:sym typeface="Arial"/>
              </a:rPr>
              <a:t>To catch incidents like these and the many other types of fraud banks are hit with constantly, JPMorgan is using large language models. This is part of a trend in which many organizations, including banks, payments networks like Swift and online gambling companies like Caesars Entertainment, are shifting from more basic machine learning to advanced AI in their pursuit of bad actors and suspicious transactions. Fraud detection technology at JPMorgan evolved from the use of basic business rules and decision trees to the use of machine learning. More recently, the bank has been using AI to extract entities, such as names of companies and people, from unstructured data and analyze them for signs of fraud. One example is using large language models to detect signs of compromise in email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30777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Improved business agility and resilience</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Financial Service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7F305365-29CA-C7B5-6E3F-210DC60ACF6E}"/>
              </a:ext>
            </a:extLst>
          </p:cNvPr>
          <p:cNvSpPr txBox="1"/>
          <p:nvPr/>
        </p:nvSpPr>
        <p:spPr>
          <a:xfrm>
            <a:off x="3911182" y="6129706"/>
            <a:ext cx="6554541" cy="784830"/>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www.americanbanker.com/news/jpmorgan-chase-using-chatgpt-like-large-language-models-to-detect-fraud</a:t>
            </a:r>
            <a:endParaRPr lang="en-US" sz="1000"/>
          </a:p>
          <a:p>
            <a:pPr defTabSz="914400">
              <a:lnSpc>
                <a:spcPct val="90000"/>
              </a:lnSpc>
              <a:defRPr/>
            </a:pPr>
            <a:r>
              <a:rPr lang="en-US" sz="1000" b="1"/>
              <a:t>Publish Date: 07/2023</a:t>
            </a:r>
          </a:p>
          <a:p>
            <a:pPr defTabSz="914400">
              <a:lnSpc>
                <a:spcPct val="90000"/>
              </a:lnSpc>
              <a:defRPr/>
            </a:pPr>
            <a:endParaRPr lang="en-US" sz="1000"/>
          </a:p>
        </p:txBody>
      </p:sp>
      <p:sp>
        <p:nvSpPr>
          <p:cNvPr id="2" name="TextBox 1">
            <a:extLst>
              <a:ext uri="{FF2B5EF4-FFF2-40B4-BE49-F238E27FC236}">
                <a16:creationId xmlns:a16="http://schemas.microsoft.com/office/drawing/2014/main" id="{8C275B1D-3497-1C2D-A937-151608D42AD5}"/>
              </a:ext>
            </a:extLst>
          </p:cNvPr>
          <p:cNvSpPr txBox="1"/>
          <p:nvPr/>
        </p:nvSpPr>
        <p:spPr>
          <a:xfrm>
            <a:off x="157022" y="1264673"/>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5" name="TextBox 14">
            <a:extLst>
              <a:ext uri="{FF2B5EF4-FFF2-40B4-BE49-F238E27FC236}">
                <a16:creationId xmlns:a16="http://schemas.microsoft.com/office/drawing/2014/main" id="{E8A83B76-EA8D-C113-029A-573566691D5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60AFD7A3-3381-BC80-1030-669AFE6D746E}"/>
              </a:ext>
            </a:extLst>
          </p:cNvPr>
          <p:cNvSpPr txBox="1"/>
          <p:nvPr/>
        </p:nvSpPr>
        <p:spPr>
          <a:xfrm>
            <a:off x="2229932" y="2753118"/>
            <a:ext cx="1681249"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Fraud Detec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485B9F8-9806-D2FC-8CAF-164905405243}"/>
              </a:ext>
            </a:extLst>
          </p:cNvPr>
          <p:cNvSpPr txBox="1"/>
          <p:nvPr/>
        </p:nvSpPr>
        <p:spPr>
          <a:xfrm>
            <a:off x="8569828" y="5964515"/>
            <a:ext cx="1779333" cy="338554"/>
          </a:xfrm>
          <a:prstGeom prst="rect">
            <a:avLst/>
          </a:prstGeom>
          <a:noFill/>
        </p:spPr>
        <p:txBody>
          <a:bodyPr wrap="none" lIns="0" rIns="0" rtlCol="0">
            <a:spAutoFit/>
          </a:bodyPr>
          <a:lstStyle/>
          <a:p>
            <a:pPr algn="l">
              <a:spcBef>
                <a:spcPts val="600"/>
              </a:spcBef>
            </a:pPr>
            <a:r>
              <a:rPr lang="en-US" sz="1600"/>
              <a:t>Case Study ID: 103</a:t>
            </a:r>
          </a:p>
        </p:txBody>
      </p:sp>
      <p:sp>
        <p:nvSpPr>
          <p:cNvPr id="19" name="TextBox 18">
            <a:extLst>
              <a:ext uri="{FF2B5EF4-FFF2-40B4-BE49-F238E27FC236}">
                <a16:creationId xmlns:a16="http://schemas.microsoft.com/office/drawing/2014/main" id="{908584C9-8053-BAF4-2837-F31222763A77}"/>
              </a:ext>
            </a:extLst>
          </p:cNvPr>
          <p:cNvSpPr txBox="1"/>
          <p:nvPr/>
        </p:nvSpPr>
        <p:spPr>
          <a:xfrm>
            <a:off x="215588" y="1747844"/>
            <a:ext cx="1840353"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JPMorgan Chase</a:t>
            </a:r>
          </a:p>
        </p:txBody>
      </p:sp>
      <p:sp>
        <p:nvSpPr>
          <p:cNvPr id="8" name="Rectangle 7">
            <a:extLst>
              <a:ext uri="{FF2B5EF4-FFF2-40B4-BE49-F238E27FC236}">
                <a16:creationId xmlns:a16="http://schemas.microsoft.com/office/drawing/2014/main" id="{A68D5E23-72DC-7317-3E70-7D71B7BA80BC}"/>
              </a:ext>
            </a:extLst>
          </p:cNvPr>
          <p:cNvSpPr/>
          <p:nvPr/>
        </p:nvSpPr>
        <p:spPr>
          <a:xfrm>
            <a:off x="334496" y="5776431"/>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Business Agility</a:t>
            </a:r>
          </a:p>
        </p:txBody>
      </p:sp>
    </p:spTree>
    <p:extLst>
      <p:ext uri="{BB962C8B-B14F-4D97-AF65-F5344CB8AC3E}">
        <p14:creationId xmlns:p14="http://schemas.microsoft.com/office/powerpoint/2010/main" val="41343711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The Phoenix Suns advance their sales playbook to close new deals </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Phoenix Suns — an NBA team— work in high-pressure, high-visibility scenarios, and every interaction counts. From internal strategies to partnership pitches, it requires the right tools to produce professional, on-brand result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20412" y="2974192"/>
            <a:ext cx="7911128" cy="1600438"/>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Beautiful.ai’s cloud-based software has unlocked a new way to collaborate, and improve efficiencies, for the Suns’ internal team. The ability to make edits on the fly, simultaneously in the same deck while their teammate is adding notes, has been a game changer saving them a lot of time.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Repurposing content from existing decks and locking down certain features to enforce brand standards and keep consistency across presentations. Restrict assets to ensure each sales manager runs with their deck and adds personal touches to the graphs, charts, and images. </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 consistency in design allows recycling content and tailoring it for each new prospect or partner to deliver a customized experience in a fraction of the time.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Scale workflows, collaborate, and improve efficiencie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Closed a substantial deal using Beautiful.ai from beginning to end. </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Sport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827542"/>
            <a:ext cx="1159984" cy="307777"/>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a:rPr>
              <a:t>Beautiful.ai</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340221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Enhanced Customer Engagement, Increased Productivity, Increased Close Rate</a:t>
            </a:r>
            <a:endParaRPr lang="en-IN" sz="12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91798663-FA40-5E74-C806-A6538A3E02AE}"/>
              </a:ext>
            </a:extLst>
          </p:cNvPr>
          <p:cNvSpPr txBox="1"/>
          <p:nvPr/>
        </p:nvSpPr>
        <p:spPr>
          <a:xfrm>
            <a:off x="3869618" y="6060349"/>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www.beautiful.ai/customers/phoenix-suns</a:t>
            </a:r>
            <a:endParaRPr lang="en-US" sz="1000"/>
          </a:p>
          <a:p>
            <a:pPr defTabSz="914400">
              <a:lnSpc>
                <a:spcPct val="90000"/>
              </a:lnSpc>
              <a:defRPr/>
            </a:pPr>
            <a:r>
              <a:rPr lang="en-US" sz="1000" b="1"/>
              <a:t>Publish Date: 05/2022</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5448E429-A015-8379-E26B-566D2E827E02}"/>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BFC0AFF0-506D-14AB-F317-AD77E1A68812}"/>
              </a:ext>
            </a:extLst>
          </p:cNvPr>
          <p:cNvSpPr txBox="1"/>
          <p:nvPr/>
        </p:nvSpPr>
        <p:spPr>
          <a:xfrm>
            <a:off x="2229933" y="1825387"/>
            <a:ext cx="1505115"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The Phoenix Suns</a:t>
            </a:r>
          </a:p>
        </p:txBody>
      </p:sp>
      <p:sp>
        <p:nvSpPr>
          <p:cNvPr id="15" name="TextBox 14">
            <a:extLst>
              <a:ext uri="{FF2B5EF4-FFF2-40B4-BE49-F238E27FC236}">
                <a16:creationId xmlns:a16="http://schemas.microsoft.com/office/drawing/2014/main" id="{A442C6B6-2248-62B3-BA65-E9213542D20D}"/>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40B3DF9D-D73A-50D6-D41F-C0F7D68C330C}"/>
              </a:ext>
            </a:extLst>
          </p:cNvPr>
          <p:cNvSpPr txBox="1"/>
          <p:nvPr/>
        </p:nvSpPr>
        <p:spPr>
          <a:xfrm>
            <a:off x="2260291" y="2753118"/>
            <a:ext cx="1609328" cy="7386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rketing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A9F0A8EE-CFF9-6A5A-C27F-E26182D5AAF0}"/>
              </a:ext>
            </a:extLst>
          </p:cNvPr>
          <p:cNvSpPr txBox="1"/>
          <p:nvPr/>
        </p:nvSpPr>
        <p:spPr>
          <a:xfrm>
            <a:off x="8569828" y="5964515"/>
            <a:ext cx="1650260" cy="338554"/>
          </a:xfrm>
          <a:prstGeom prst="rect">
            <a:avLst/>
          </a:prstGeom>
          <a:noFill/>
        </p:spPr>
        <p:txBody>
          <a:bodyPr wrap="none" lIns="0" rIns="0" rtlCol="0">
            <a:spAutoFit/>
          </a:bodyPr>
          <a:lstStyle/>
          <a:p>
            <a:pPr algn="l">
              <a:spcBef>
                <a:spcPts val="600"/>
              </a:spcBef>
            </a:pPr>
            <a:r>
              <a:rPr lang="en-US" sz="1600"/>
              <a:t>Case Study ID: 11</a:t>
            </a:r>
          </a:p>
        </p:txBody>
      </p:sp>
    </p:spTree>
    <p:extLst>
      <p:ext uri="{BB962C8B-B14F-4D97-AF65-F5344CB8AC3E}">
        <p14:creationId xmlns:p14="http://schemas.microsoft.com/office/powerpoint/2010/main" val="15543751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Generative AI transforming how a retailer produces thousands of product information descriptions </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A leading retailer in Finland, operating in several countries and across ten e-commerce systems, implemented a generative AI solution that significantly reduced the time required to create product information descriptions for their e-commerce platform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384995"/>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Generative AI produces initial product description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Humans review and refine the AI-generated content.</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is method saves time and improves accuracy.</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Implementing the best Azure OpenAI algorithm and templates to ensure data accuracy.</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AI assistance seamlessly integrated into the Product Information Management system and ten e-commerce system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Significantly reduced the time required to create product information descriptions for their e-commerce platform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Retail</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372506" y="1697704"/>
            <a:ext cx="1578446" cy="310914"/>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Tietoevry</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800802" cy="50783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ased Productivity, Improved Qual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6A0245DB-B15F-E842-9DC6-ACDD8846EC25}"/>
              </a:ext>
            </a:extLst>
          </p:cNvPr>
          <p:cNvSpPr txBox="1"/>
          <p:nvPr/>
        </p:nvSpPr>
        <p:spPr>
          <a:xfrm>
            <a:off x="3869619" y="6178688"/>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www.tietoevry.com/en/success-stories/2023/generative-ai-transforming-how-a-retailer-produces-thousands-of-product-information-descriptions/ </a:t>
            </a:r>
            <a:endParaRPr lang="en-US" sz="1000"/>
          </a:p>
          <a:p>
            <a:pPr defTabSz="914400">
              <a:lnSpc>
                <a:spcPct val="90000"/>
              </a:lnSpc>
              <a:defRPr/>
            </a:pPr>
            <a:r>
              <a:rPr lang="en-US" sz="1000" b="1"/>
              <a:t>Client/Other Source:</a:t>
            </a:r>
          </a:p>
          <a:p>
            <a:pPr defTabSz="914400">
              <a:lnSpc>
                <a:spcPct val="90000"/>
              </a:lnSpc>
              <a:defRPr/>
            </a:pPr>
            <a:r>
              <a:rPr lang="en-US" sz="1000" b="1"/>
              <a:t>Publish Date: 6/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DE03F928-3184-1488-BD1A-CBE72B997E10}"/>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2" name="TextBox 11">
            <a:extLst>
              <a:ext uri="{FF2B5EF4-FFF2-40B4-BE49-F238E27FC236}">
                <a16:creationId xmlns:a16="http://schemas.microsoft.com/office/drawing/2014/main" id="{86E7EE61-2C37-6F69-998F-C21206173B12}"/>
              </a:ext>
            </a:extLst>
          </p:cNvPr>
          <p:cNvSpPr txBox="1"/>
          <p:nvPr/>
        </p:nvSpPr>
        <p:spPr>
          <a:xfrm>
            <a:off x="2260291" y="2753118"/>
            <a:ext cx="1743500"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rketing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4" name="TextBox 13">
            <a:extLst>
              <a:ext uri="{FF2B5EF4-FFF2-40B4-BE49-F238E27FC236}">
                <a16:creationId xmlns:a16="http://schemas.microsoft.com/office/drawing/2014/main" id="{2491F4FA-D3E6-82E0-9429-96C0F125CD54}"/>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17</a:t>
            </a:r>
          </a:p>
        </p:txBody>
      </p:sp>
      <p:sp>
        <p:nvSpPr>
          <p:cNvPr id="15" name="TextBox 14">
            <a:extLst>
              <a:ext uri="{FF2B5EF4-FFF2-40B4-BE49-F238E27FC236}">
                <a16:creationId xmlns:a16="http://schemas.microsoft.com/office/drawing/2014/main" id="{A1151290-72B1-A1A7-C178-1C07009D8563}"/>
              </a:ext>
            </a:extLst>
          </p:cNvPr>
          <p:cNvSpPr txBox="1"/>
          <p:nvPr/>
        </p:nvSpPr>
        <p:spPr>
          <a:xfrm>
            <a:off x="228824" y="1754270"/>
            <a:ext cx="1578446" cy="523220"/>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Microsoft Azure OpenAI Service</a:t>
            </a:r>
            <a:endParaRPr lang="en-US" sz="1400" b="1" kern="0">
              <a:solidFill>
                <a:srgbClr val="000000"/>
              </a:solidFill>
              <a:cs typeface="Arial"/>
              <a:sym typeface="Arial"/>
            </a:endParaRPr>
          </a:p>
        </p:txBody>
      </p:sp>
      <p:sp>
        <p:nvSpPr>
          <p:cNvPr id="18" name="TextBox 17">
            <a:extLst>
              <a:ext uri="{FF2B5EF4-FFF2-40B4-BE49-F238E27FC236}">
                <a16:creationId xmlns:a16="http://schemas.microsoft.com/office/drawing/2014/main" id="{CE812F4D-6668-0E93-B388-3CE6BC0343AF}"/>
              </a:ext>
            </a:extLst>
          </p:cNvPr>
          <p:cNvSpPr txBox="1"/>
          <p:nvPr/>
        </p:nvSpPr>
        <p:spPr>
          <a:xfrm>
            <a:off x="2277922" y="127514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Tree>
    <p:extLst>
      <p:ext uri="{BB962C8B-B14F-4D97-AF65-F5344CB8AC3E}">
        <p14:creationId xmlns:p14="http://schemas.microsoft.com/office/powerpoint/2010/main" val="3092949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Hotel Z, a boutique hotel chain, integrated Pay Per Call into their online advertisement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By leveraging generative AI to enhance their visual content, Hotel Z captured the attention of potential customers who were actively seeking unique accommodations. This personalized approach significantly increased their conversion rates and boosted sales. </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Leveraged Dasha Pay Per Call Generative AI solution. The addition of Pay Per Call allowed them to connect with interested individuals, answering questions, and offering personalized deals.  </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30777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Personalized experiences increased their conversion rates and boosted sale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Hospitality</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809254"/>
            <a:ext cx="1159984" cy="307777"/>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Dasha</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Enhanced Customer Engagement, Revenue </a:t>
            </a:r>
            <a:endParaRPr lang="en-IN" sz="12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9EF0F452-199C-65C8-9DEB-BEAF173E0D1A}"/>
              </a:ext>
            </a:extLst>
          </p:cNvPr>
          <p:cNvSpPr txBox="1"/>
          <p:nvPr/>
        </p:nvSpPr>
        <p:spPr>
          <a:xfrm>
            <a:off x="3869618" y="6060349"/>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dasha.ai/en-us/blog/pay-per-call-and-generative-ai-the-winning-combination-for-travel-businesses</a:t>
            </a:r>
            <a:endParaRPr lang="en-US" sz="1000"/>
          </a:p>
          <a:p>
            <a:pPr defTabSz="914400">
              <a:lnSpc>
                <a:spcPct val="90000"/>
              </a:lnSpc>
              <a:defRPr/>
            </a:pPr>
            <a:r>
              <a:rPr lang="en-US" sz="1000" b="1"/>
              <a:t>Publish Date: 7/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EE306818-0D6E-E954-FA55-AC4267228E77}"/>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70A52B3A-94D8-CB44-C687-8A5D6E11B100}"/>
              </a:ext>
            </a:extLst>
          </p:cNvPr>
          <p:cNvSpPr txBox="1"/>
          <p:nvPr/>
        </p:nvSpPr>
        <p:spPr>
          <a:xfrm>
            <a:off x="2229933" y="1807099"/>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Hotel Z</a:t>
            </a:r>
          </a:p>
        </p:txBody>
      </p:sp>
      <p:sp>
        <p:nvSpPr>
          <p:cNvPr id="15" name="TextBox 14">
            <a:extLst>
              <a:ext uri="{FF2B5EF4-FFF2-40B4-BE49-F238E27FC236}">
                <a16:creationId xmlns:a16="http://schemas.microsoft.com/office/drawing/2014/main" id="{E5EF29B0-4D71-2993-32C2-BB31AF6B09FF}"/>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FC7FB880-7626-DBE8-C944-6B410A8439D7}"/>
              </a:ext>
            </a:extLst>
          </p:cNvPr>
          <p:cNvSpPr txBox="1"/>
          <p:nvPr/>
        </p:nvSpPr>
        <p:spPr>
          <a:xfrm>
            <a:off x="2260291" y="2753118"/>
            <a:ext cx="1743500"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rketing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C6852B14-592A-5552-704A-3EAEA6B7EB18}"/>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18</a:t>
            </a:r>
          </a:p>
        </p:txBody>
      </p:sp>
    </p:spTree>
    <p:extLst>
      <p:ext uri="{BB962C8B-B14F-4D97-AF65-F5344CB8AC3E}">
        <p14:creationId xmlns:p14="http://schemas.microsoft.com/office/powerpoint/2010/main" val="30048611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2500" b="1" kern="0">
                <a:solidFill>
                  <a:srgbClr val="172A54"/>
                </a:solidFill>
                <a:latin typeface="Arial Black"/>
                <a:ea typeface="Arial Black"/>
                <a:cs typeface="Arial Black"/>
                <a:sym typeface="Arial Black"/>
              </a:rPr>
              <a:t>Revolutionizing local marketing: Shahrukh Khan's Digital Avatar powers personalized Cadbury promotions across India</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Cadbury (Mondelez), confectionery, needed a breakthrough ad campaign for the occasion of Diwali which is the peak season of sales for the company in India</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err="1">
                <a:solidFill>
                  <a:srgbClr val="000000"/>
                </a:solidFill>
                <a:cs typeface="Arial"/>
                <a:sym typeface="Arial"/>
              </a:rPr>
              <a:t>Rephrase.ai</a:t>
            </a:r>
            <a:r>
              <a:rPr lang="en-US" sz="1400" kern="0">
                <a:solidFill>
                  <a:srgbClr val="000000"/>
                </a:solidFill>
                <a:cs typeface="Arial"/>
                <a:sym typeface="Arial"/>
              </a:rPr>
              <a:t> created a digital avatar of India's biggest celebrity, Shahrukh Khan, for Mondelez International - Cadbury.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y created 500 ads targeting specific PIN codes on Facebook and YouTube, referring to local stores. They also built a microsite for shopkeepers to receive personalized videos endorsing their stores, encouraging them to use the videos for promotion.</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9478" y="4950880"/>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campaign delivered 22% higher VTRs and 18% higher CTRs. 105k users logged on to campaign to create their version. A total of 130k versions of the ad were created. The campaign earned PR worth over USD 1.5 million. Cadbury Celebrations delivered with a 29% growth over LY </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CPG</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818398"/>
            <a:ext cx="1204012" cy="523220"/>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Rephrase.ai</a:t>
            </a:r>
            <a:endParaRPr lang="en-US" sz="1400" b="1" kern="0">
              <a:solidFill>
                <a:srgbClr val="000000"/>
              </a:solidFill>
              <a:cs typeface="Arial"/>
              <a:sym typeface="Arial"/>
            </a:endParaRPr>
          </a:p>
          <a:p>
            <a:pPr algn="ctr" defTabSz="914400">
              <a:buClr>
                <a:srgbClr val="000000"/>
              </a:buClr>
              <a:buFont typeface="Arial"/>
              <a:buNone/>
            </a:pPr>
            <a:endParaRPr lang="en-US" sz="1400" b="1" kern="0">
              <a:solidFill>
                <a:srgbClr val="000000"/>
              </a:solidFill>
              <a:cs typeface="Arial"/>
              <a:sym typeface="Arial"/>
            </a:endParaRPr>
          </a:p>
        </p:txBody>
      </p:sp>
      <p:sp>
        <p:nvSpPr>
          <p:cNvPr id="2" name="TextBox 1">
            <a:extLst>
              <a:ext uri="{FF2B5EF4-FFF2-40B4-BE49-F238E27FC236}">
                <a16:creationId xmlns:a16="http://schemas.microsoft.com/office/drawing/2014/main" id="{A9A1176E-2350-9C69-FF3C-C8723FF5B0AD}"/>
              </a:ext>
            </a:extLst>
          </p:cNvPr>
          <p:cNvSpPr txBox="1"/>
          <p:nvPr/>
        </p:nvSpPr>
        <p:spPr>
          <a:xfrm>
            <a:off x="3869619" y="6060349"/>
            <a:ext cx="6488954"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www.rephrase.ai/case-studies/notjustacadburyad-shahrukh-khan</a:t>
            </a:r>
            <a:r>
              <a:rPr lang="en-US" sz="1000"/>
              <a:t> </a:t>
            </a:r>
          </a:p>
          <a:p>
            <a:pPr defTabSz="914400">
              <a:lnSpc>
                <a:spcPct val="90000"/>
              </a:lnSpc>
              <a:defRPr/>
            </a:pPr>
            <a:endParaRPr lang="en-US" sz="1000" b="1"/>
          </a:p>
          <a:p>
            <a:pPr defTabSz="914400">
              <a:lnSpc>
                <a:spcPct val="90000"/>
              </a:lnSpc>
              <a:defRPr/>
            </a:pPr>
            <a:r>
              <a:rPr lang="en-US" sz="1000" b="1"/>
              <a:t>Client/Other Source:</a:t>
            </a:r>
          </a:p>
          <a:p>
            <a:pPr defTabSz="914400">
              <a:lnSpc>
                <a:spcPct val="90000"/>
              </a:lnSpc>
              <a:defRPr/>
            </a:pPr>
            <a:r>
              <a:rPr lang="en-US" sz="1000" b="1"/>
              <a:t>Publish Date: 11/2023</a:t>
            </a:r>
            <a:endParaRPr lang="en-US" sz="1000"/>
          </a:p>
          <a:p>
            <a:pPr defTabSz="914400">
              <a:lnSpc>
                <a:spcPct val="90000"/>
              </a:lnSpc>
              <a:defRPr/>
            </a:pPr>
            <a:endParaRPr lang="en-US" sz="1000"/>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3141882" cy="507831"/>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Direct Revenue Growth, Customer Acquisition, Brand Value (NPS)</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12" name="TextBox 11">
            <a:extLst>
              <a:ext uri="{FF2B5EF4-FFF2-40B4-BE49-F238E27FC236}">
                <a16:creationId xmlns:a16="http://schemas.microsoft.com/office/drawing/2014/main" id="{D56436AC-60EF-06F8-3FA7-35CB433105F0}"/>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3F2AE522-97C3-C929-F606-41D50E97A510}"/>
              </a:ext>
            </a:extLst>
          </p:cNvPr>
          <p:cNvSpPr txBox="1"/>
          <p:nvPr/>
        </p:nvSpPr>
        <p:spPr>
          <a:xfrm>
            <a:off x="2229933" y="1816243"/>
            <a:ext cx="1505115"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Cadbury (Mondelez)</a:t>
            </a:r>
          </a:p>
        </p:txBody>
      </p:sp>
      <p:sp>
        <p:nvSpPr>
          <p:cNvPr id="15" name="TextBox 14">
            <a:extLst>
              <a:ext uri="{FF2B5EF4-FFF2-40B4-BE49-F238E27FC236}">
                <a16:creationId xmlns:a16="http://schemas.microsoft.com/office/drawing/2014/main" id="{0BD1BA25-1747-DED3-3C01-1DD46BB03DFD}"/>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87640359-71DE-2478-B3E6-F96A1C52F428}"/>
              </a:ext>
            </a:extLst>
          </p:cNvPr>
          <p:cNvSpPr txBox="1"/>
          <p:nvPr/>
        </p:nvSpPr>
        <p:spPr>
          <a:xfrm>
            <a:off x="2260291" y="2753118"/>
            <a:ext cx="178314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rketing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7005048C-81B2-7A5B-9E71-B0D327B5A2C5}"/>
              </a:ext>
            </a:extLst>
          </p:cNvPr>
          <p:cNvSpPr txBox="1"/>
          <p:nvPr/>
        </p:nvSpPr>
        <p:spPr>
          <a:xfrm>
            <a:off x="9087951" y="5972111"/>
            <a:ext cx="1665521" cy="338554"/>
          </a:xfrm>
          <a:prstGeom prst="rect">
            <a:avLst/>
          </a:prstGeom>
          <a:noFill/>
        </p:spPr>
        <p:txBody>
          <a:bodyPr wrap="none" lIns="0" rIns="0" rtlCol="0">
            <a:spAutoFit/>
          </a:bodyPr>
          <a:lstStyle/>
          <a:p>
            <a:pPr algn="l">
              <a:spcBef>
                <a:spcPts val="600"/>
              </a:spcBef>
            </a:pPr>
            <a:r>
              <a:rPr lang="en-US" sz="1600"/>
              <a:t>Case Study ID: 29</a:t>
            </a:r>
          </a:p>
        </p:txBody>
      </p:sp>
    </p:spTree>
    <p:extLst>
      <p:ext uri="{BB962C8B-B14F-4D97-AF65-F5344CB8AC3E}">
        <p14:creationId xmlns:p14="http://schemas.microsoft.com/office/powerpoint/2010/main" val="166942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Coca-Cola launches digital campaign using ChatGPT</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Create Real Magic” is the first output of The Coca‑Cola Company’s collaboration with a new global services alliance launched by Bain &amp; Company and OpenAI. Digital creatives around the world can use a first-of-its-kind AI platform to generate original artwork with iconic creative assets from the Coca-Cola archive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Built exclusively for Coca-Cola by OpenAI and Bain &amp; Company, “Create Real Magic” is a platform that combines the capabilities of GPT-4, which produces human-like text from search engine queries, and DALL-E, which produces images based on text. Four AI artists – Emma Sofija (Europe), Chris Branch (Europe), Paul Parsons (Europe) and Ean Hwa Huag (Asia) – kickstarted the crowdsourcing campaign by creating custom art using the platform and Coca-Cola assets. </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campaign is part of Coca-Cola’s “Real Magic” global brand platform, which is rooted in the idea that magic lives in unexpected moments of connection that elevate the everyday into the extraordinary.</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CPG</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167800" y="1745246"/>
            <a:ext cx="1460725" cy="738664"/>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OpenAI GPT-4, Bain</a:t>
            </a:r>
            <a:endParaRPr lang="en-US" sz="1400" b="1" kern="0">
              <a:solidFill>
                <a:srgbClr val="000000"/>
              </a:solidFill>
              <a:cs typeface="Arial"/>
              <a:sym typeface="Arial"/>
            </a:endParaRPr>
          </a:p>
          <a:p>
            <a:pPr algn="ctr" defTabSz="914400">
              <a:buClr>
                <a:srgbClr val="000000"/>
              </a:buClr>
              <a:buFont typeface="Arial"/>
              <a:buNone/>
            </a:pPr>
            <a:endParaRPr lang="en-US" sz="1400" b="1" kern="0">
              <a:solidFill>
                <a:srgbClr val="000000"/>
              </a:solidFill>
              <a:cs typeface="Arial"/>
              <a:sym typeface="Arial"/>
            </a:endParaRPr>
          </a:p>
        </p:txBody>
      </p:sp>
      <p:sp>
        <p:nvSpPr>
          <p:cNvPr id="760" name="TextBox 759">
            <a:extLst>
              <a:ext uri="{FF2B5EF4-FFF2-40B4-BE49-F238E27FC236}">
                <a16:creationId xmlns:a16="http://schemas.microsoft.com/office/drawing/2014/main" id="{16F0A96B-3D1E-E8DF-AC52-46F2C43A756E}"/>
              </a:ext>
            </a:extLst>
          </p:cNvPr>
          <p:cNvSpPr txBox="1"/>
          <p:nvPr/>
        </p:nvSpPr>
        <p:spPr>
          <a:xfrm>
            <a:off x="2152753" y="1748923"/>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Coca-Cola</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50783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Campaign Optimization, Productiv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75A76CB3-3761-55E2-2C4C-8822B650EB89}"/>
              </a:ext>
            </a:extLst>
          </p:cNvPr>
          <p:cNvSpPr txBox="1"/>
          <p:nvPr/>
        </p:nvSpPr>
        <p:spPr>
          <a:xfrm>
            <a:off x="3869618" y="6060349"/>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www.coca-colacompany.com/media-center/coca-cola-invites-digital-artists-to-create-real-magic-using-new-ai-platform</a:t>
            </a:r>
            <a:endParaRPr lang="en-US" sz="1000"/>
          </a:p>
          <a:p>
            <a:pPr defTabSz="914400">
              <a:lnSpc>
                <a:spcPct val="90000"/>
              </a:lnSpc>
              <a:defRPr/>
            </a:pPr>
            <a:r>
              <a:rPr lang="en-US" sz="1000" b="1"/>
              <a:t>Publish Date: 3/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44765A22-0E11-EDCB-7D7C-D7CD4E09BD09}"/>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5" name="TextBox 14">
            <a:extLst>
              <a:ext uri="{FF2B5EF4-FFF2-40B4-BE49-F238E27FC236}">
                <a16:creationId xmlns:a16="http://schemas.microsoft.com/office/drawing/2014/main" id="{62F0432E-B818-E437-6BFF-DC53598C0EA5}"/>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294AF08E-7395-5A62-557B-3A3B1CE02284}"/>
              </a:ext>
            </a:extLst>
          </p:cNvPr>
          <p:cNvSpPr txBox="1"/>
          <p:nvPr/>
        </p:nvSpPr>
        <p:spPr>
          <a:xfrm>
            <a:off x="2260291" y="2753118"/>
            <a:ext cx="178314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rketing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03F8FC89-E6C4-0A9E-FB8A-6517498F0BDD}"/>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50</a:t>
            </a:r>
          </a:p>
        </p:txBody>
      </p:sp>
    </p:spTree>
    <p:extLst>
      <p:ext uri="{BB962C8B-B14F-4D97-AF65-F5344CB8AC3E}">
        <p14:creationId xmlns:p14="http://schemas.microsoft.com/office/powerpoint/2010/main" val="9904245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err="1">
                <a:solidFill>
                  <a:srgbClr val="172A54"/>
                </a:solidFill>
                <a:latin typeface="Arial Black"/>
                <a:ea typeface="Arial Black"/>
                <a:cs typeface="Arial Black"/>
                <a:sym typeface="Arial Black"/>
              </a:rPr>
              <a:t>EcomHype</a:t>
            </a:r>
            <a:r>
              <a:rPr lang="en-US" sz="3200" b="1" kern="0">
                <a:solidFill>
                  <a:srgbClr val="172A54"/>
                </a:solidFill>
                <a:latin typeface="Arial Black"/>
                <a:ea typeface="Arial Black"/>
                <a:cs typeface="Arial Black"/>
                <a:sym typeface="Arial Black"/>
              </a:rPr>
              <a:t> gained 40% increase in response rate</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EcomHype, an e-commerce growth agency wanted a simple and personalized cold emailing solution that could pay special attention to detail on each prospect and does not seem to be a usual template email, but a more informed cold email</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384995"/>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SmartWriter Outreach Tool helped the team with prospecting efforts to reach more e-commerce businesses. This resulted in a more personalized approach to emails and more leads being generated</a:t>
            </a:r>
          </a:p>
          <a:p>
            <a:pPr algn="just" defTabSz="914400">
              <a:buClr>
                <a:srgbClr val="000000"/>
              </a:buClr>
            </a:pPr>
            <a:r>
              <a:rPr lang="en-US" sz="1400" kern="0">
                <a:solidFill>
                  <a:srgbClr val="000000"/>
                </a:solidFill>
                <a:cs typeface="Arial"/>
                <a:sym typeface="Arial"/>
              </a:rPr>
              <a:t>The SmartWriter platform allowed crafting a personalized message to a prospect using the domain provided and scraping the data from the website.  Using data-driven insights it transformed the message by diving deeper into prospect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Smartwriter allowed EcomHype:</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40% Increase in Response Rate With SmartWriter</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More booked appointments allowing to have more closing opportunitie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31867"/>
            <a:ext cx="1653373" cy="307777"/>
          </a:xfrm>
          <a:prstGeom prst="rect">
            <a:avLst/>
          </a:prstGeom>
          <a:noFill/>
        </p:spPr>
        <p:txBody>
          <a:bodyPr wrap="square" rtlCol="0">
            <a:spAutoFit/>
          </a:bodyPr>
          <a:lstStyle/>
          <a:p>
            <a:pPr defTabSz="914400">
              <a:buClr>
                <a:srgbClr val="000000"/>
              </a:buClr>
              <a:defRPr/>
            </a:pPr>
            <a:r>
              <a:rPr lang="en-US" sz="1400">
                <a:solidFill>
                  <a:schemeClr val="tx1"/>
                </a:solidFill>
              </a:rPr>
              <a:t>eCommerce</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53496" y="1662013"/>
            <a:ext cx="1495940" cy="523220"/>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SmartWriter</a:t>
            </a:r>
            <a:endParaRPr lang="en-US" sz="1400" b="1" kern="0">
              <a:solidFill>
                <a:srgbClr val="000000"/>
              </a:solidFill>
              <a:cs typeface="Arial"/>
              <a:sym typeface="Arial"/>
            </a:endParaRPr>
          </a:p>
          <a:p>
            <a:pPr algn="ctr" defTabSz="914400">
              <a:buClr>
                <a:srgbClr val="000000"/>
              </a:buClr>
              <a:buFont typeface="Arial"/>
              <a:buNone/>
            </a:pP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5"/>
            <a:ext cx="3402210" cy="507831"/>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Response Rate, Lead Generation, Revenue, </a:t>
            </a:r>
            <a:r>
              <a:rPr lang="en-US" sz="1400" b="0" i="0">
                <a:solidFill>
                  <a:srgbClr val="000000"/>
                </a:solidFill>
                <a:effectLst/>
                <a:latin typeface="Arial" panose="020B0604020202020204" pitchFamily="34" charset="0"/>
                <a:cs typeface="Arial" panose="020B0604020202020204" pitchFamily="34" charset="0"/>
              </a:rPr>
              <a:t>Customer Acquisition</a:t>
            </a:r>
            <a:endParaRPr lang="en-IN" sz="1400">
              <a:solidFill>
                <a:schemeClr val="tx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3A3B4FD4-D635-82EA-FE6E-1385CE20FB3E}"/>
              </a:ext>
            </a:extLst>
          </p:cNvPr>
          <p:cNvSpPr txBox="1"/>
          <p:nvPr/>
        </p:nvSpPr>
        <p:spPr>
          <a:xfrm>
            <a:off x="3869619" y="6211669"/>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www.smartwriter.ai/case-studies/ecommhype-40-increase-in-response-rate-with-smartwriter </a:t>
            </a:r>
            <a:r>
              <a:rPr lang="en-US" sz="1000" b="1"/>
              <a:t>Client/Other Source:</a:t>
            </a:r>
          </a:p>
          <a:p>
            <a:pPr defTabSz="914400">
              <a:lnSpc>
                <a:spcPct val="90000"/>
              </a:lnSpc>
              <a:defRPr/>
            </a:pPr>
            <a:r>
              <a:rPr lang="en-US" sz="1000" b="1"/>
              <a:t>Publish Date: Unknown</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46AF2F55-874B-1349-DF64-0E22DD79633E}"/>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FDEF9B7E-7FD8-FF7C-6962-F599E54C4665}"/>
              </a:ext>
            </a:extLst>
          </p:cNvPr>
          <p:cNvSpPr txBox="1"/>
          <p:nvPr/>
        </p:nvSpPr>
        <p:spPr>
          <a:xfrm>
            <a:off x="2229933" y="1660795"/>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EcomHype</a:t>
            </a:r>
          </a:p>
        </p:txBody>
      </p:sp>
      <p:sp>
        <p:nvSpPr>
          <p:cNvPr id="15" name="TextBox 14">
            <a:extLst>
              <a:ext uri="{FF2B5EF4-FFF2-40B4-BE49-F238E27FC236}">
                <a16:creationId xmlns:a16="http://schemas.microsoft.com/office/drawing/2014/main" id="{A54E5204-E2F7-7C03-C058-71B910340A4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58197D0C-59EC-F604-54D2-CE1D7D938338}"/>
              </a:ext>
            </a:extLst>
          </p:cNvPr>
          <p:cNvSpPr txBox="1"/>
          <p:nvPr/>
        </p:nvSpPr>
        <p:spPr>
          <a:xfrm>
            <a:off x="2260291" y="2753118"/>
            <a:ext cx="1609328" cy="7386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rketing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26D3244B-8052-A6C5-840B-4D660C135109}"/>
              </a:ext>
            </a:extLst>
          </p:cNvPr>
          <p:cNvSpPr txBox="1"/>
          <p:nvPr/>
        </p:nvSpPr>
        <p:spPr>
          <a:xfrm>
            <a:off x="8569828" y="5964515"/>
            <a:ext cx="1551707" cy="338554"/>
          </a:xfrm>
          <a:prstGeom prst="rect">
            <a:avLst/>
          </a:prstGeom>
          <a:noFill/>
        </p:spPr>
        <p:txBody>
          <a:bodyPr wrap="none" lIns="0" rIns="0" rtlCol="0">
            <a:spAutoFit/>
          </a:bodyPr>
          <a:lstStyle/>
          <a:p>
            <a:pPr algn="l">
              <a:spcBef>
                <a:spcPts val="600"/>
              </a:spcBef>
            </a:pPr>
            <a:r>
              <a:rPr lang="en-US" sz="1600"/>
              <a:t>Case Study ID: 9</a:t>
            </a:r>
          </a:p>
        </p:txBody>
      </p:sp>
    </p:spTree>
    <p:extLst>
      <p:ext uri="{BB962C8B-B14F-4D97-AF65-F5344CB8AC3E}">
        <p14:creationId xmlns:p14="http://schemas.microsoft.com/office/powerpoint/2010/main" val="21842224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Mongoose Media grows traffic 166% in two months </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Mongoose Media, a marketing company was looking for a way to help their copywriters write their content faster, more efficiently, and to increase efficacy of SEO performance</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y updated their process to the following: the on-page SEO manager provides the keywords, the copywriter uses the keywords to write the content with the help of Jasper, and then they use Surfer SEO to make sure they were using the right keywords and placements so that it has a good Surfer score</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y started writing anywhere from 1,500 to 3,000 words in less than 2 hours. That same process used to take 8-10 hours</a:t>
            </a:r>
          </a:p>
          <a:p>
            <a:pPr algn="just" defTabSz="914400">
              <a:buClr>
                <a:srgbClr val="000000"/>
              </a:buClr>
            </a:pPr>
            <a:r>
              <a:rPr lang="en-US" sz="1400" kern="0">
                <a:solidFill>
                  <a:srgbClr val="000000"/>
                </a:solidFill>
                <a:cs typeface="Arial"/>
                <a:sym typeface="Arial"/>
              </a:rPr>
              <a:t>They went from around 3,000 to just under 8,000 organic visitor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23242"/>
            <a:ext cx="2120353" cy="523220"/>
          </a:xfrm>
          <a:prstGeom prst="rect">
            <a:avLst/>
          </a:prstGeom>
          <a:noFill/>
        </p:spPr>
        <p:txBody>
          <a:bodyPr wrap="square" rtlCol="0">
            <a:spAutoFit/>
          </a:bodyPr>
          <a:lstStyle/>
          <a:p>
            <a:pPr defTabSz="914400">
              <a:buClr>
                <a:srgbClr val="000000"/>
              </a:buClr>
              <a:defRPr/>
            </a:pPr>
            <a:r>
              <a:rPr kumimoji="0" lang="en-US" sz="1400" b="0" i="0" u="none" strike="noStrike" kern="0" cap="none" spc="0" normalizeH="0" baseline="0" noProof="0">
                <a:ln>
                  <a:noFill/>
                </a:ln>
                <a:solidFill>
                  <a:srgbClr val="000000"/>
                </a:solidFill>
                <a:effectLst/>
                <a:uLnTx/>
                <a:uFillTx/>
                <a:cs typeface="Arial"/>
                <a:sym typeface="Arial"/>
              </a:rPr>
              <a:t>Marketing and Advertising</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36102"/>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Jasper.ai</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433098"/>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Customer Acquisition</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ABE93864-3976-065E-8102-29A63835054C}"/>
              </a:ext>
            </a:extLst>
          </p:cNvPr>
          <p:cNvSpPr txBox="1"/>
          <p:nvPr/>
        </p:nvSpPr>
        <p:spPr>
          <a:xfrm>
            <a:off x="3869618" y="6060349"/>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www.jasper.ai/case-studies/mongoose-media</a:t>
            </a:r>
            <a:r>
              <a:rPr lang="en-US" sz="1000"/>
              <a:t> </a:t>
            </a:r>
          </a:p>
          <a:p>
            <a:pPr defTabSz="914400">
              <a:lnSpc>
                <a:spcPct val="90000"/>
              </a:lnSpc>
              <a:defRPr/>
            </a:pPr>
            <a:r>
              <a:rPr lang="en-US" sz="1000" b="1"/>
              <a:t>Client/Other Source:</a:t>
            </a:r>
          </a:p>
          <a:p>
            <a:pPr defTabSz="914400">
              <a:lnSpc>
                <a:spcPct val="90000"/>
              </a:lnSpc>
              <a:defRPr/>
            </a:pPr>
            <a:r>
              <a:rPr lang="en-US" sz="1000" b="1"/>
              <a:t>Publish Date: 6/2023</a:t>
            </a:r>
            <a:endParaRPr lang="en-US" sz="1000"/>
          </a:p>
          <a:p>
            <a:pPr defTabSz="914400">
              <a:lnSpc>
                <a:spcPct val="90000"/>
              </a:lnSpc>
              <a:defRPr/>
            </a:pPr>
            <a:r>
              <a:rPr lang="en-US" sz="1000" b="1"/>
              <a:t> </a:t>
            </a:r>
            <a:endParaRPr lang="en-US" sz="1000"/>
          </a:p>
        </p:txBody>
      </p:sp>
      <p:sp>
        <p:nvSpPr>
          <p:cNvPr id="2" name="TextBox 1">
            <a:extLst>
              <a:ext uri="{FF2B5EF4-FFF2-40B4-BE49-F238E27FC236}">
                <a16:creationId xmlns:a16="http://schemas.microsoft.com/office/drawing/2014/main" id="{0886775F-4796-A7CA-9730-FB53A416FDC9}"/>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D122D3E8-55E0-5294-3394-FE9D24DAF9DF}"/>
              </a:ext>
            </a:extLst>
          </p:cNvPr>
          <p:cNvSpPr txBox="1"/>
          <p:nvPr/>
        </p:nvSpPr>
        <p:spPr>
          <a:xfrm>
            <a:off x="2145624" y="1748924"/>
            <a:ext cx="1505115"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Mongoose Media</a:t>
            </a:r>
          </a:p>
        </p:txBody>
      </p:sp>
      <p:sp>
        <p:nvSpPr>
          <p:cNvPr id="15" name="TextBox 14">
            <a:extLst>
              <a:ext uri="{FF2B5EF4-FFF2-40B4-BE49-F238E27FC236}">
                <a16:creationId xmlns:a16="http://schemas.microsoft.com/office/drawing/2014/main" id="{6CFA8A66-D405-9DEE-4923-83C6C50442FD}"/>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5FA9B922-D33C-67AE-9DD4-98E1F44D7BD7}"/>
              </a:ext>
            </a:extLst>
          </p:cNvPr>
          <p:cNvSpPr txBox="1"/>
          <p:nvPr/>
        </p:nvSpPr>
        <p:spPr>
          <a:xfrm>
            <a:off x="2260291" y="2753118"/>
            <a:ext cx="1743500"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rketing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8134E63-483D-268A-7A0F-1E76EA9491B7}"/>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60</a:t>
            </a:r>
          </a:p>
        </p:txBody>
      </p:sp>
    </p:spTree>
    <p:extLst>
      <p:ext uri="{BB962C8B-B14F-4D97-AF65-F5344CB8AC3E}">
        <p14:creationId xmlns:p14="http://schemas.microsoft.com/office/powerpoint/2010/main" val="36138534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55D46F-6C55-38A2-28FF-D58D4A632C16}"/>
              </a:ext>
            </a:extLst>
          </p:cNvPr>
          <p:cNvSpPr>
            <a:spLocks noGrp="1"/>
          </p:cNvSpPr>
          <p:nvPr>
            <p:ph type="title"/>
          </p:nvPr>
        </p:nvSpPr>
        <p:spPr/>
        <p:txBody>
          <a:bodyPr/>
          <a:lstStyle/>
          <a:p>
            <a:r>
              <a:rPr lang="en-US"/>
              <a:t>How to Use This Deck</a:t>
            </a:r>
          </a:p>
        </p:txBody>
      </p:sp>
      <p:sp>
        <p:nvSpPr>
          <p:cNvPr id="3" name="Content Placeholder 2">
            <a:extLst>
              <a:ext uri="{FF2B5EF4-FFF2-40B4-BE49-F238E27FC236}">
                <a16:creationId xmlns:a16="http://schemas.microsoft.com/office/drawing/2014/main" id="{F98D152F-E39A-2840-312A-27B040ECCDA4}"/>
              </a:ext>
            </a:extLst>
          </p:cNvPr>
          <p:cNvSpPr>
            <a:spLocks noGrp="1"/>
          </p:cNvSpPr>
          <p:nvPr>
            <p:ph idx="1"/>
          </p:nvPr>
        </p:nvSpPr>
        <p:spPr/>
        <p:txBody>
          <a:bodyPr vert="horz" lIns="0" tIns="0" rIns="0" bIns="0" rtlCol="0" anchor="t">
            <a:noAutofit/>
          </a:bodyPr>
          <a:lstStyle/>
          <a:p>
            <a:pPr marL="245745" indent="-245745"/>
            <a:r>
              <a:rPr lang="en-US"/>
              <a:t>This deck includes PowerPoint summaries of the case studies highlighted in the downloadable spreadsheet and document. </a:t>
            </a:r>
          </a:p>
          <a:p>
            <a:pPr marL="245745" indent="-245745"/>
            <a:r>
              <a:rPr lang="en-US"/>
              <a:t>Each case study can be found by searching by category (links on the next slide) and/or by Case Study Number (found in Column A of the spreadsheet download)</a:t>
            </a:r>
            <a:endParaRPr lang="en-US">
              <a:cs typeface="Arial"/>
            </a:endParaRPr>
          </a:p>
        </p:txBody>
      </p:sp>
    </p:spTree>
    <p:extLst>
      <p:ext uri="{BB962C8B-B14F-4D97-AF65-F5344CB8AC3E}">
        <p14:creationId xmlns:p14="http://schemas.microsoft.com/office/powerpoint/2010/main" val="2726029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eBay eliminated human bias by using AI-powered copywriting tool Phrasee</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eBay, online retailer was looking for a way to write personalized marketing messages to over a million customers, which was physically and financially impossible. But automation wasn’t the solution, either. Sending out cookie cutter emails to the entire customer base could do irreparable harm to the brand.</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eBay turned to AI-powered copywriting tool Phrasee which uses natural language generation and deep learning to automatically write and optimize email subject lines, Facebook ads, and push messages at scale</a:t>
            </a:r>
          </a:p>
          <a:p>
            <a:pPr algn="just" defTabSz="914400">
              <a:buClr>
                <a:srgbClr val="000000"/>
              </a:buClr>
            </a:pPr>
            <a:r>
              <a:rPr lang="en-US" sz="1400" kern="0">
                <a:solidFill>
                  <a:srgbClr val="000000"/>
                </a:solidFill>
                <a:cs typeface="Arial"/>
                <a:sym typeface="Arial"/>
              </a:rPr>
              <a:t>Once trained on a brand’s data, Phrasee writes human-sounding copy in a brand voice</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y were able to write thousands of subject lines within minutes</a:t>
            </a:r>
          </a:p>
          <a:p>
            <a:pPr algn="just" defTabSz="914400">
              <a:buClr>
                <a:srgbClr val="000000"/>
              </a:buClr>
            </a:pPr>
            <a:r>
              <a:rPr lang="en-US" sz="1400" kern="0">
                <a:solidFill>
                  <a:srgbClr val="000000"/>
                </a:solidFill>
                <a:cs typeface="Arial"/>
                <a:sym typeface="Arial"/>
              </a:rPr>
              <a:t>This also eliminated the problem of human bias which was common with copyrighter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Retail</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63534"/>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Phrasee</a:t>
            </a:r>
            <a:endParaRPr lang="en-US" sz="1400" b="1" kern="0">
              <a:solidFill>
                <a:srgbClr val="000000"/>
              </a:solidFill>
              <a:cs typeface="Arial"/>
              <a:sym typeface="Arial"/>
            </a:endParaRPr>
          </a:p>
        </p:txBody>
      </p:sp>
      <p:sp>
        <p:nvSpPr>
          <p:cNvPr id="760" name="TextBox 759">
            <a:extLst>
              <a:ext uri="{FF2B5EF4-FFF2-40B4-BE49-F238E27FC236}">
                <a16:creationId xmlns:a16="http://schemas.microsoft.com/office/drawing/2014/main" id="{16F0A96B-3D1E-E8DF-AC52-46F2C43A756E}"/>
              </a:ext>
            </a:extLst>
          </p:cNvPr>
          <p:cNvSpPr txBox="1"/>
          <p:nvPr/>
        </p:nvSpPr>
        <p:spPr>
          <a:xfrm>
            <a:off x="2145624" y="1776356"/>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eBay</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Reduced Bias</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90DD2211-4586-A66D-0C83-C7D2585C6CA9}"/>
              </a:ext>
            </a:extLst>
          </p:cNvPr>
          <p:cNvSpPr txBox="1"/>
          <p:nvPr/>
        </p:nvSpPr>
        <p:spPr>
          <a:xfrm>
            <a:off x="3878244" y="6060349"/>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www.marketingaiinstitute.com/blog/how-ebay-uses-artificial-intelligence-for-copywriting</a:t>
            </a:r>
            <a:endParaRPr lang="en-US" sz="1000"/>
          </a:p>
          <a:p>
            <a:pPr defTabSz="914400">
              <a:lnSpc>
                <a:spcPct val="90000"/>
              </a:lnSpc>
              <a:defRPr/>
            </a:pPr>
            <a:r>
              <a:rPr lang="en-US" sz="1000" b="1"/>
              <a:t>Publish Date: 6/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1F394459-FC2B-8685-3DC1-E04687B8589A}"/>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2497DA75-8479-59B4-2A6A-144DD6BE2A17}"/>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A7A8271A-EF36-844E-0404-311CDA1730CF}"/>
              </a:ext>
            </a:extLst>
          </p:cNvPr>
          <p:cNvSpPr txBox="1"/>
          <p:nvPr/>
        </p:nvSpPr>
        <p:spPr>
          <a:xfrm>
            <a:off x="2260290" y="2753118"/>
            <a:ext cx="1776741"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rketing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FB8A6EDB-272A-FABD-8124-A7E6FC72D7CE}"/>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61</a:t>
            </a:r>
          </a:p>
        </p:txBody>
      </p:sp>
    </p:spTree>
    <p:extLst>
      <p:ext uri="{BB962C8B-B14F-4D97-AF65-F5344CB8AC3E}">
        <p14:creationId xmlns:p14="http://schemas.microsoft.com/office/powerpoint/2010/main" val="34622842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Novo Nordisk scaled messaging engagement </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Novo Nordisk, a pharmaceutical company wanted to find optimized ways to deliver the right information to the right people at the right time – while ensuring that each message is tone sensitive, compliant, timely and effective at scale</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y used Phrasee’s AI-optimized content to level up their email outreach and get more people to open and engage with its messaging</a:t>
            </a:r>
          </a:p>
          <a:p>
            <a:pPr algn="just" defTabSz="914400">
              <a:buClr>
                <a:srgbClr val="000000"/>
              </a:buClr>
            </a:pPr>
            <a:r>
              <a:rPr lang="en-US" sz="1400" kern="0">
                <a:solidFill>
                  <a:srgbClr val="000000"/>
                </a:solidFill>
                <a:cs typeface="Arial"/>
                <a:sym typeface="Arial"/>
              </a:rPr>
              <a:t>Phrasee generates high-performing marketing copy and gets smarter with every send – ensuring maximum reach</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Phrasee outperformed human-controlled email subject lines with an average 14% uplift in click rate and 24% uplift in open rate</a:t>
            </a:r>
          </a:p>
          <a:p>
            <a:pPr algn="just" defTabSz="914400">
              <a:buClr>
                <a:srgbClr val="000000"/>
              </a:buClr>
            </a:pPr>
            <a:r>
              <a:rPr lang="en-US" sz="1400" kern="0">
                <a:solidFill>
                  <a:srgbClr val="000000"/>
                </a:solidFill>
                <a:cs typeface="Arial"/>
                <a:sym typeface="Arial"/>
              </a:rPr>
              <a:t>They were able to rapidly generate compliant messaging at scale and within its legal and regulatory requirement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Pharmaceutical</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699526"/>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Phrasee</a:t>
            </a:r>
            <a:endParaRPr lang="en-US" sz="1400" b="1" kern="0">
              <a:solidFill>
                <a:srgbClr val="000000"/>
              </a:solidFill>
              <a:cs typeface="Arial"/>
              <a:sym typeface="Arial"/>
            </a:endParaRPr>
          </a:p>
        </p:txBody>
      </p:sp>
      <p:sp>
        <p:nvSpPr>
          <p:cNvPr id="760" name="TextBox 759">
            <a:extLst>
              <a:ext uri="{FF2B5EF4-FFF2-40B4-BE49-F238E27FC236}">
                <a16:creationId xmlns:a16="http://schemas.microsoft.com/office/drawing/2014/main" id="{16F0A96B-3D1E-E8DF-AC52-46F2C43A756E}"/>
              </a:ext>
            </a:extLst>
          </p:cNvPr>
          <p:cNvSpPr txBox="1"/>
          <p:nvPr/>
        </p:nvSpPr>
        <p:spPr>
          <a:xfrm>
            <a:off x="2190187" y="1695009"/>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Novo Nordisk</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7"/>
            <a:ext cx="3536780" cy="459286"/>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Uplift, Click Rate, Compliance, Productivity, Customer Engagement</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DA8CD8FA-36C3-24BD-2993-1C44BD0B4CA0}"/>
              </a:ext>
            </a:extLst>
          </p:cNvPr>
          <p:cNvSpPr txBox="1"/>
          <p:nvPr/>
        </p:nvSpPr>
        <p:spPr>
          <a:xfrm>
            <a:off x="3869618" y="6060349"/>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phrasee.co/resources/novo-nordisk-delivers-diabetes-care-with-ai-content/</a:t>
            </a:r>
            <a:endParaRPr lang="en-US" sz="1000"/>
          </a:p>
          <a:p>
            <a:pPr defTabSz="914400">
              <a:lnSpc>
                <a:spcPct val="90000"/>
              </a:lnSpc>
              <a:defRPr/>
            </a:pPr>
            <a:r>
              <a:rPr lang="en-US" sz="1000" b="1"/>
              <a:t>Client/Other Source:</a:t>
            </a:r>
          </a:p>
          <a:p>
            <a:pPr defTabSz="914400">
              <a:lnSpc>
                <a:spcPct val="90000"/>
              </a:lnSpc>
              <a:defRPr/>
            </a:pPr>
            <a:r>
              <a:rPr lang="en-US" sz="1000" b="1"/>
              <a:t>Publish Date: 6/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C7B6977D-2F3C-43A4-5B1B-4A3AF9D85677}"/>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89920EC7-DEE6-E356-C06B-60F077711A27}"/>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E9147C8E-AD1A-4425-8EBF-2539D97DDDDD}"/>
              </a:ext>
            </a:extLst>
          </p:cNvPr>
          <p:cNvSpPr txBox="1"/>
          <p:nvPr/>
        </p:nvSpPr>
        <p:spPr>
          <a:xfrm>
            <a:off x="2260290" y="2753118"/>
            <a:ext cx="1731869"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rketing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6B87360B-2790-50FB-BC59-5D37A40310F8}"/>
              </a:ext>
            </a:extLst>
          </p:cNvPr>
          <p:cNvSpPr txBox="1"/>
          <p:nvPr/>
        </p:nvSpPr>
        <p:spPr>
          <a:xfrm>
            <a:off x="10010439" y="5943703"/>
            <a:ext cx="1665521" cy="338554"/>
          </a:xfrm>
          <a:prstGeom prst="rect">
            <a:avLst/>
          </a:prstGeom>
          <a:noFill/>
        </p:spPr>
        <p:txBody>
          <a:bodyPr wrap="none" lIns="0" rIns="0" rtlCol="0">
            <a:spAutoFit/>
          </a:bodyPr>
          <a:lstStyle/>
          <a:p>
            <a:pPr algn="l">
              <a:spcBef>
                <a:spcPts val="600"/>
              </a:spcBef>
            </a:pPr>
            <a:r>
              <a:rPr lang="en-US" sz="1600"/>
              <a:t>Case Study ID: 62</a:t>
            </a:r>
          </a:p>
        </p:txBody>
      </p:sp>
    </p:spTree>
    <p:extLst>
      <p:ext uri="{BB962C8B-B14F-4D97-AF65-F5344CB8AC3E}">
        <p14:creationId xmlns:p14="http://schemas.microsoft.com/office/powerpoint/2010/main" val="22053140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BDO enhanced employee engagement through Colossyan’s built-in Brand Kit Designer </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BDO, an assurance, tax, and financial advisory services was looking for a scalable and sustainable way to create videos. Setting up an in-house studio would have required budget reallocation and potentially months of recruitment, design, procurement and other miscellaneous task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Colossyan’s built-in Brand Kit Designer enables BDO to set video colors, fonts and logos, and automate layout creation. PPT upload allows turning old and new presentations and reports into videos in a few clicks.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Collaboration tools let all team members and department heads comment, approve or edit parts of the video draft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BDO is experiencing higher levels of information flow, better engagement from social followers and employees who are 18% more likely to work together as a team</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Scalable and stress-free production, now videos can be created in minutes instead of weeks which was in case of using traditional method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defTabSz="914400">
              <a:buClr>
                <a:srgbClr val="000000"/>
              </a:buClr>
              <a:defRPr/>
            </a:pPr>
            <a:r>
              <a:rPr kumimoji="0" lang="en-US" sz="1400" b="0" i="0" u="none" strike="noStrike" kern="0" cap="none" spc="0" normalizeH="0" baseline="0" noProof="0">
                <a:ln>
                  <a:noFill/>
                </a:ln>
                <a:solidFill>
                  <a:srgbClr val="000000"/>
                </a:solidFill>
                <a:effectLst/>
                <a:uLnTx/>
                <a:uFillTx/>
                <a:cs typeface="Arial"/>
                <a:sym typeface="Arial"/>
              </a:rPr>
              <a:t>Financial Service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45246"/>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Colossyan</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5"/>
            <a:ext cx="3262316"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Collaboration, Employee Value</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EEF2409D-DA87-BB98-29F0-0A769C68EBC4}"/>
              </a:ext>
            </a:extLst>
          </p:cNvPr>
          <p:cNvSpPr txBox="1"/>
          <p:nvPr/>
        </p:nvSpPr>
        <p:spPr>
          <a:xfrm>
            <a:off x="3869618" y="6060349"/>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www.colossyan.com/posts/corporate-study-case-bdo?66a708a3_page=2</a:t>
            </a:r>
            <a:endParaRPr lang="en-US" sz="1000"/>
          </a:p>
          <a:p>
            <a:pPr defTabSz="914400">
              <a:lnSpc>
                <a:spcPct val="90000"/>
              </a:lnSpc>
              <a:defRPr/>
            </a:pPr>
            <a:r>
              <a:rPr lang="en-US" sz="1000" b="1"/>
              <a:t>Client/Other Source</a:t>
            </a:r>
            <a:r>
              <a:rPr lang="en-US" sz="1000"/>
              <a:t>: </a:t>
            </a:r>
            <a:r>
              <a:rPr lang="en-US" sz="1000">
                <a:hlinkClick r:id="rId7"/>
              </a:rPr>
              <a:t>https://medium.com/@colossyan/corporate-case-study-bdo-3e860a23df46</a:t>
            </a:r>
            <a:endParaRPr lang="en-US" sz="1000"/>
          </a:p>
          <a:p>
            <a:pPr defTabSz="914400">
              <a:lnSpc>
                <a:spcPct val="90000"/>
              </a:lnSpc>
              <a:defRPr/>
            </a:pPr>
            <a:r>
              <a:rPr lang="en-US" sz="1000" b="1"/>
              <a:t>Publish Date: 7/2023</a:t>
            </a:r>
            <a:endParaRPr lang="en-US" sz="1000"/>
          </a:p>
          <a:p>
            <a:pPr defTabSz="914400">
              <a:lnSpc>
                <a:spcPct val="90000"/>
              </a:lnSpc>
              <a:defRPr/>
            </a:pPr>
            <a:r>
              <a:rPr lang="en-US" sz="1000"/>
              <a:t> </a:t>
            </a:r>
          </a:p>
        </p:txBody>
      </p:sp>
      <p:sp>
        <p:nvSpPr>
          <p:cNvPr id="2" name="TextBox 1">
            <a:extLst>
              <a:ext uri="{FF2B5EF4-FFF2-40B4-BE49-F238E27FC236}">
                <a16:creationId xmlns:a16="http://schemas.microsoft.com/office/drawing/2014/main" id="{FEA1A294-EE5F-AB88-AA8A-B9E17957AC4C}"/>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541C1C5B-5CDB-0C33-1361-F6B2E67303C2}"/>
              </a:ext>
            </a:extLst>
          </p:cNvPr>
          <p:cNvSpPr txBox="1"/>
          <p:nvPr/>
        </p:nvSpPr>
        <p:spPr>
          <a:xfrm>
            <a:off x="2190187" y="1740729"/>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BDO</a:t>
            </a:r>
          </a:p>
        </p:txBody>
      </p:sp>
      <p:sp>
        <p:nvSpPr>
          <p:cNvPr id="15" name="TextBox 14">
            <a:extLst>
              <a:ext uri="{FF2B5EF4-FFF2-40B4-BE49-F238E27FC236}">
                <a16:creationId xmlns:a16="http://schemas.microsoft.com/office/drawing/2014/main" id="{6E3C017B-B2E6-2586-5D67-4CB225DE5C90}"/>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5C6AAFEB-5C16-317B-2CA7-ABD135E238ED}"/>
              </a:ext>
            </a:extLst>
          </p:cNvPr>
          <p:cNvSpPr txBox="1"/>
          <p:nvPr/>
        </p:nvSpPr>
        <p:spPr>
          <a:xfrm>
            <a:off x="2260291" y="2753118"/>
            <a:ext cx="178314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rketing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4122EDD1-B32B-7B7E-E594-69FB05585B61}"/>
              </a:ext>
            </a:extLst>
          </p:cNvPr>
          <p:cNvSpPr txBox="1"/>
          <p:nvPr/>
        </p:nvSpPr>
        <p:spPr>
          <a:xfrm>
            <a:off x="9354832" y="5945801"/>
            <a:ext cx="1665521" cy="338554"/>
          </a:xfrm>
          <a:prstGeom prst="rect">
            <a:avLst/>
          </a:prstGeom>
          <a:noFill/>
        </p:spPr>
        <p:txBody>
          <a:bodyPr wrap="none" lIns="0" rIns="0" rtlCol="0">
            <a:spAutoFit/>
          </a:bodyPr>
          <a:lstStyle/>
          <a:p>
            <a:pPr algn="l">
              <a:spcBef>
                <a:spcPts val="600"/>
              </a:spcBef>
            </a:pPr>
            <a:r>
              <a:rPr lang="en-US" sz="1600"/>
              <a:t>Case Study ID: 63</a:t>
            </a:r>
          </a:p>
        </p:txBody>
      </p:sp>
    </p:spTree>
    <p:extLst>
      <p:ext uri="{BB962C8B-B14F-4D97-AF65-F5344CB8AC3E}">
        <p14:creationId xmlns:p14="http://schemas.microsoft.com/office/powerpoint/2010/main" val="40020041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err="1">
                <a:solidFill>
                  <a:srgbClr val="172A54"/>
                </a:solidFill>
                <a:latin typeface="Arial Black"/>
                <a:ea typeface="Arial Black"/>
                <a:cs typeface="Arial Black"/>
                <a:sym typeface="Arial Black"/>
              </a:rPr>
              <a:t>Keap</a:t>
            </a:r>
            <a:r>
              <a:rPr lang="en-US" sz="3200" b="1" kern="0">
                <a:solidFill>
                  <a:srgbClr val="172A54"/>
                </a:solidFill>
                <a:latin typeface="Arial Black"/>
                <a:ea typeface="Arial Black"/>
                <a:cs typeface="Arial Black"/>
                <a:sym typeface="Arial Black"/>
              </a:rPr>
              <a:t> improved quality response by using 17 generative AI pipelines built</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err="1">
                <a:solidFill>
                  <a:srgbClr val="000000"/>
                </a:solidFill>
                <a:cs typeface="Arial"/>
                <a:sym typeface="Arial"/>
              </a:rPr>
              <a:t>Keap.com</a:t>
            </a:r>
            <a:r>
              <a:rPr lang="en-US" sz="1400" kern="0">
                <a:solidFill>
                  <a:srgbClr val="000000"/>
                </a:solidFill>
                <a:cs typeface="Arial"/>
                <a:sym typeface="Arial"/>
              </a:rPr>
              <a:t> operated in the marketing copy generation space. It was looking to build an AI product that allows users of their platform to create a huge variety of marketing “plays” that use generative AI to generate the copy to move customer through an automated workflow such as follow up sequences, lead magnet sequences, new customer welcomes, and much more. </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384995"/>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err="1">
                <a:solidFill>
                  <a:srgbClr val="000000"/>
                </a:solidFill>
                <a:cs typeface="Arial"/>
                <a:sym typeface="Arial"/>
              </a:rPr>
              <a:t>Width.ai</a:t>
            </a:r>
            <a:r>
              <a:rPr lang="en-US" sz="1400" kern="0">
                <a:solidFill>
                  <a:srgbClr val="000000"/>
                </a:solidFill>
                <a:cs typeface="Arial"/>
                <a:sym typeface="Arial"/>
              </a:rPr>
              <a:t> built 17 generative AI pipelines for use in the </a:t>
            </a:r>
            <a:r>
              <a:rPr lang="en-US" sz="1400" kern="0" err="1">
                <a:solidFill>
                  <a:srgbClr val="000000"/>
                </a:solidFill>
                <a:cs typeface="Arial"/>
                <a:sym typeface="Arial"/>
              </a:rPr>
              <a:t>Keap.com</a:t>
            </a:r>
            <a:r>
              <a:rPr lang="en-US" sz="1400" kern="0">
                <a:solidFill>
                  <a:srgbClr val="000000"/>
                </a:solidFill>
                <a:cs typeface="Arial"/>
                <a:sym typeface="Arial"/>
              </a:rPr>
              <a:t> marketing copy generation product</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 model focused on generating emotion driven thought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y built generative ai data management pipelines that allowed to easily incorporate real in-context user runs of the product into the ML model training process and also built auto-optimization frameworks we to leverage prompt opt.</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is concept made adding differentiation between variables much easier that leads to the outputs having more variety</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is improved system's ability to rely on the prompt structure to generate high quality responses on edge cases that fine-tuning was unable to cover</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Technology</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36102"/>
            <a:ext cx="1159984" cy="307777"/>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Width.ai</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ased Productiv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3DC2DE89-A460-285A-BEBD-E3AE0D0A4830}"/>
              </a:ext>
            </a:extLst>
          </p:cNvPr>
          <p:cNvSpPr txBox="1"/>
          <p:nvPr/>
        </p:nvSpPr>
        <p:spPr>
          <a:xfrm>
            <a:off x="3869618" y="6052720"/>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www.width.ai/post/ai-marketing-copy-generator </a:t>
            </a:r>
            <a:endParaRPr lang="en-US" sz="1000"/>
          </a:p>
          <a:p>
            <a:pPr defTabSz="914400">
              <a:lnSpc>
                <a:spcPct val="90000"/>
              </a:lnSpc>
              <a:defRPr/>
            </a:pPr>
            <a:r>
              <a:rPr lang="en-US" sz="1000" b="1"/>
              <a:t>Client/Other Source</a:t>
            </a:r>
            <a:r>
              <a:rPr lang="en-US" sz="1000"/>
              <a:t>:</a:t>
            </a:r>
          </a:p>
          <a:p>
            <a:pPr defTabSz="914400">
              <a:lnSpc>
                <a:spcPct val="90000"/>
              </a:lnSpc>
              <a:defRPr/>
            </a:pPr>
            <a:r>
              <a:rPr lang="en-US" sz="1000" b="1"/>
              <a:t>Publish Date: 7/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AE040384-3E2F-A417-E6EA-43768CB918A3}"/>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2ADFD4D1-F498-5AE2-2110-81F48ED261B5}"/>
              </a:ext>
            </a:extLst>
          </p:cNvPr>
          <p:cNvSpPr txBox="1"/>
          <p:nvPr/>
        </p:nvSpPr>
        <p:spPr>
          <a:xfrm>
            <a:off x="2190187" y="1731585"/>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Keap</a:t>
            </a:r>
          </a:p>
        </p:txBody>
      </p:sp>
      <p:sp>
        <p:nvSpPr>
          <p:cNvPr id="15" name="TextBox 14">
            <a:extLst>
              <a:ext uri="{FF2B5EF4-FFF2-40B4-BE49-F238E27FC236}">
                <a16:creationId xmlns:a16="http://schemas.microsoft.com/office/drawing/2014/main" id="{D0B28704-4E24-8489-5714-8B932CBCA25A}"/>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1E0BC960-136F-447E-BF9F-A4F245A0D394}"/>
              </a:ext>
            </a:extLst>
          </p:cNvPr>
          <p:cNvSpPr txBox="1"/>
          <p:nvPr/>
        </p:nvSpPr>
        <p:spPr>
          <a:xfrm>
            <a:off x="2260290" y="2753118"/>
            <a:ext cx="1907355"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rketing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72CC1C92-1813-D9EF-E7E6-BB181ED61B2B}"/>
              </a:ext>
            </a:extLst>
          </p:cNvPr>
          <p:cNvSpPr txBox="1"/>
          <p:nvPr/>
        </p:nvSpPr>
        <p:spPr>
          <a:xfrm>
            <a:off x="9760273" y="5930259"/>
            <a:ext cx="1551707" cy="338554"/>
          </a:xfrm>
          <a:prstGeom prst="rect">
            <a:avLst/>
          </a:prstGeom>
          <a:noFill/>
        </p:spPr>
        <p:txBody>
          <a:bodyPr wrap="none" lIns="0" rIns="0" rtlCol="0">
            <a:spAutoFit/>
          </a:bodyPr>
          <a:lstStyle/>
          <a:p>
            <a:pPr algn="l">
              <a:spcBef>
                <a:spcPts val="600"/>
              </a:spcBef>
            </a:pPr>
            <a:r>
              <a:rPr lang="en-US" sz="1600"/>
              <a:t>Case Study ID: 2</a:t>
            </a:r>
          </a:p>
        </p:txBody>
      </p:sp>
    </p:spTree>
    <p:extLst>
      <p:ext uri="{BB962C8B-B14F-4D97-AF65-F5344CB8AC3E}">
        <p14:creationId xmlns:p14="http://schemas.microsoft.com/office/powerpoint/2010/main" val="42402000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Maersk leverages generative AI for enhanced customer experience and web traffic boost</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Maersk is presently using generative AI technology on Maersk.com to auto-generate FAQs and improve accuracy of search queries to increase traffic to the website. In the future, they also see potential for software code generation or super intelligent ChatBots with language translation to help customer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03791" y="3129961"/>
            <a:ext cx="7911128"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Maersk is using ChatGPT integration from OpenAI. They are using this generative AI technology on Maersk.com to auto-generate FAQs and improve accuracy of Search queries to increase traffic to the website. </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AI improves search query accuracy to boost website traffic. ChatBots equipped with language translation for enhanced customer assistance.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Aims to improve service speed and accuracy for customer experience teams.</a:t>
            </a:r>
            <a:endParaRPr lang="en-US" sz="1400" b="1" kern="0">
              <a:solidFill>
                <a:srgbClr val="00000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defTabSz="914400">
              <a:buClr>
                <a:srgbClr val="000000"/>
              </a:buClr>
              <a:defRPr/>
            </a:pPr>
            <a:r>
              <a:rPr lang="en-US" sz="1400" kern="0">
                <a:solidFill>
                  <a:srgbClr val="000000"/>
                </a:solidFill>
                <a:cs typeface="Arial"/>
                <a:sym typeface="Arial"/>
              </a:rPr>
              <a:t>Shipping and Logistics</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598942"/>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OpenAI</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5"/>
            <a:ext cx="2520000" cy="497761"/>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Customer Experience, Productiv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BE24EF14-1208-1B77-B17A-B940A0D8D6E7}"/>
              </a:ext>
            </a:extLst>
          </p:cNvPr>
          <p:cNvSpPr txBox="1"/>
          <p:nvPr/>
        </p:nvSpPr>
        <p:spPr>
          <a:xfrm>
            <a:off x="3869618" y="6052720"/>
            <a:ext cx="6554541" cy="9233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a:t>
            </a:r>
            <a:r>
              <a:rPr lang="en-US" sz="1000"/>
              <a:t>: </a:t>
            </a:r>
            <a:r>
              <a:rPr lang="en-US" sz="1000">
                <a:hlinkClick r:id="rId6"/>
              </a:rPr>
              <a:t>https://www.maersk.com/news/articles/2023/03/14/the-ai-chatbot-chatgpt-is-a-game-changer#:~:text=How%20is%20Maersk%20using%20ChatGPT,increase%20traffic%20to%20the%20website, https://indiaai.gov.in/article/how-shipping-giant-maersk-use-ai-to-optimise-its-crucial-on-ground-support-functions </a:t>
            </a:r>
          </a:p>
          <a:p>
            <a:pPr defTabSz="914400">
              <a:lnSpc>
                <a:spcPct val="90000"/>
              </a:lnSpc>
              <a:defRPr/>
            </a:pPr>
            <a:r>
              <a:rPr lang="en-US" sz="1000" b="1"/>
              <a:t>Publish Date: 3/2023</a:t>
            </a:r>
            <a:endParaRPr lang="en-US" sz="1000"/>
          </a:p>
          <a:p>
            <a:pPr defTabSz="914400">
              <a:lnSpc>
                <a:spcPct val="90000"/>
              </a:lnSpc>
              <a:defRPr/>
            </a:pPr>
            <a:r>
              <a:rPr lang="en-US" sz="1000">
                <a:hlinkClick r:id="rId6"/>
              </a:rPr>
              <a:t> </a:t>
            </a:r>
            <a:endParaRPr lang="en-US" sz="1000"/>
          </a:p>
        </p:txBody>
      </p:sp>
      <p:sp>
        <p:nvSpPr>
          <p:cNvPr id="2" name="TextBox 1">
            <a:extLst>
              <a:ext uri="{FF2B5EF4-FFF2-40B4-BE49-F238E27FC236}">
                <a16:creationId xmlns:a16="http://schemas.microsoft.com/office/drawing/2014/main" id="{C2BBAE88-F1E7-F38A-E4BA-6D41786ABDEE}"/>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D636D354-D9BE-CBE6-700E-D36532ED1F7B}"/>
              </a:ext>
            </a:extLst>
          </p:cNvPr>
          <p:cNvSpPr txBox="1"/>
          <p:nvPr/>
        </p:nvSpPr>
        <p:spPr>
          <a:xfrm>
            <a:off x="2190187" y="1594425"/>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Maersk</a:t>
            </a:r>
          </a:p>
        </p:txBody>
      </p:sp>
      <p:sp>
        <p:nvSpPr>
          <p:cNvPr id="14" name="TextBox 13">
            <a:extLst>
              <a:ext uri="{FF2B5EF4-FFF2-40B4-BE49-F238E27FC236}">
                <a16:creationId xmlns:a16="http://schemas.microsoft.com/office/drawing/2014/main" id="{C7CEFDBF-9E88-5805-8CD9-66E7D5106E83}"/>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08AD0262-1B2C-F6DF-EC02-5F9C16CD1AE6}"/>
              </a:ext>
            </a:extLst>
          </p:cNvPr>
          <p:cNvSpPr txBox="1"/>
          <p:nvPr/>
        </p:nvSpPr>
        <p:spPr>
          <a:xfrm>
            <a:off x="2260291" y="2753118"/>
            <a:ext cx="1609328" cy="7386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rketing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F427290D-FF78-D8A5-2338-E92E53ED342E}"/>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24</a:t>
            </a:r>
          </a:p>
        </p:txBody>
      </p:sp>
    </p:spTree>
    <p:extLst>
      <p:ext uri="{BB962C8B-B14F-4D97-AF65-F5344CB8AC3E}">
        <p14:creationId xmlns:p14="http://schemas.microsoft.com/office/powerpoint/2010/main" val="34557790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CRED scaled its product listings that drove app conversion</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CRED Store is a marketplace for top 1% brands to engage with top 1% shoppers using CRED coins. It generates optimized copy of product listings, improving customer engagement, enabling informed purchasing decisions, reducing time to purchase, and enhancing conversions by generating highly optimized copie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With its network of 65,000+ content creators, Pepper Content was the platform of choice for CRED since it could cater to their ever-increasing requirements seamlessly. </a:t>
            </a:r>
          </a:p>
          <a:p>
            <a:pPr algn="just" defTabSz="914400">
              <a:buClr>
                <a:srgbClr val="000000"/>
              </a:buClr>
            </a:pPr>
            <a:r>
              <a:rPr lang="en-US" sz="1400" kern="0">
                <a:solidFill>
                  <a:srgbClr val="000000"/>
                </a:solidFill>
                <a:cs typeface="Arial"/>
                <a:sym typeface="Arial"/>
              </a:rPr>
              <a:t>At CRED, the content requirements were planned in sprints for 2-3 months. Post their partnership with Pepper Content, they shared deliverables in instances where demand for content had surged to a level that would be impossible for a company to generate in-house at short notice. </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30777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5X Faster content creation</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Retail</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107253" y="1699151"/>
            <a:ext cx="1669626"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Pepper Content</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5"/>
            <a:ext cx="2520000" cy="507831"/>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Quality, Agility, Cycle Time</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cess Specific, Medium Value</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96BEEF99-559F-4527-D2A5-E41B4072D063}"/>
              </a:ext>
            </a:extLst>
          </p:cNvPr>
          <p:cNvSpPr txBox="1"/>
          <p:nvPr/>
        </p:nvSpPr>
        <p:spPr>
          <a:xfrm>
            <a:off x="3869618" y="6052720"/>
            <a:ext cx="6554541" cy="1200329"/>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www.peppercontent.io/blog/how-pepper-scaled-creds-product-listings-that-drove-app-conversion/</a:t>
            </a:r>
            <a:r>
              <a:rPr lang="en-US" sz="1000"/>
              <a:t> </a:t>
            </a:r>
          </a:p>
          <a:p>
            <a:pPr defTabSz="914400">
              <a:lnSpc>
                <a:spcPct val="90000"/>
              </a:lnSpc>
              <a:defRPr/>
            </a:pPr>
            <a:r>
              <a:rPr lang="en-US" sz="1000" b="1"/>
              <a:t>Client/Other Source:</a:t>
            </a:r>
          </a:p>
          <a:p>
            <a:pPr defTabSz="914400">
              <a:lnSpc>
                <a:spcPct val="90000"/>
              </a:lnSpc>
              <a:defRPr/>
            </a:pPr>
            <a:r>
              <a:rPr lang="en-US" sz="1000" b="1"/>
              <a:t>Publish Date: 3/2022</a:t>
            </a:r>
          </a:p>
          <a:p>
            <a:pPr defTabSz="914400">
              <a:lnSpc>
                <a:spcPct val="90000"/>
              </a:lnSpc>
              <a:defRPr/>
            </a:pPr>
            <a:endParaRPr lang="en-US" sz="1000"/>
          </a:p>
          <a:p>
            <a:pPr defTabSz="914400">
              <a:lnSpc>
                <a:spcPct val="90000"/>
              </a:lnSpc>
              <a:defRPr/>
            </a:pPr>
            <a:r>
              <a:rPr lang="en-US" sz="1000">
                <a:hlinkClick r:id="rId7"/>
              </a:rPr>
              <a:t> </a:t>
            </a:r>
            <a:endParaRPr lang="en-US" sz="1000"/>
          </a:p>
          <a:p>
            <a:pPr defTabSz="914400">
              <a:lnSpc>
                <a:spcPct val="90000"/>
              </a:lnSpc>
              <a:defRPr/>
            </a:pPr>
            <a:endParaRPr lang="en-US" sz="1000" b="1"/>
          </a:p>
          <a:p>
            <a:pPr defTabSz="914400">
              <a:lnSpc>
                <a:spcPct val="90000"/>
              </a:lnSpc>
              <a:defRPr/>
            </a:pPr>
            <a:endParaRPr lang="en-US" sz="1000"/>
          </a:p>
        </p:txBody>
      </p:sp>
      <p:sp>
        <p:nvSpPr>
          <p:cNvPr id="2" name="TextBox 1">
            <a:extLst>
              <a:ext uri="{FF2B5EF4-FFF2-40B4-BE49-F238E27FC236}">
                <a16:creationId xmlns:a16="http://schemas.microsoft.com/office/drawing/2014/main" id="{D769F970-FF30-A0E5-2A9B-92F1A73C0924}"/>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5C615C48-C7F7-17F8-51F7-204A4B8CF6EB}"/>
              </a:ext>
            </a:extLst>
          </p:cNvPr>
          <p:cNvSpPr txBox="1"/>
          <p:nvPr/>
        </p:nvSpPr>
        <p:spPr>
          <a:xfrm>
            <a:off x="2090039" y="1695495"/>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CRED</a:t>
            </a:r>
          </a:p>
        </p:txBody>
      </p:sp>
      <p:sp>
        <p:nvSpPr>
          <p:cNvPr id="15" name="TextBox 14">
            <a:extLst>
              <a:ext uri="{FF2B5EF4-FFF2-40B4-BE49-F238E27FC236}">
                <a16:creationId xmlns:a16="http://schemas.microsoft.com/office/drawing/2014/main" id="{5BFD6057-EE75-3A74-1E4A-0EB185DB6081}"/>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0A827FC1-1822-2FCA-EFD8-FE08FCF8F01C}"/>
              </a:ext>
            </a:extLst>
          </p:cNvPr>
          <p:cNvSpPr txBox="1"/>
          <p:nvPr/>
        </p:nvSpPr>
        <p:spPr>
          <a:xfrm>
            <a:off x="2260291" y="2753118"/>
            <a:ext cx="1609328" cy="7386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rketing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0E1972BC-224B-1396-586F-74068CCFDB97}"/>
              </a:ext>
            </a:extLst>
          </p:cNvPr>
          <p:cNvSpPr txBox="1"/>
          <p:nvPr/>
        </p:nvSpPr>
        <p:spPr>
          <a:xfrm>
            <a:off x="10193641" y="5963053"/>
            <a:ext cx="1665521" cy="338554"/>
          </a:xfrm>
          <a:prstGeom prst="rect">
            <a:avLst/>
          </a:prstGeom>
          <a:noFill/>
        </p:spPr>
        <p:txBody>
          <a:bodyPr wrap="none" lIns="0" rIns="0" rtlCol="0">
            <a:spAutoFit/>
          </a:bodyPr>
          <a:lstStyle/>
          <a:p>
            <a:pPr algn="l">
              <a:spcBef>
                <a:spcPts val="600"/>
              </a:spcBef>
            </a:pPr>
            <a:r>
              <a:rPr lang="en-US" sz="1600"/>
              <a:t>Case Study ID: 31</a:t>
            </a:r>
          </a:p>
        </p:txBody>
      </p:sp>
    </p:spTree>
    <p:extLst>
      <p:ext uri="{BB962C8B-B14F-4D97-AF65-F5344CB8AC3E}">
        <p14:creationId xmlns:p14="http://schemas.microsoft.com/office/powerpoint/2010/main" val="11254051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err="1">
                <a:solidFill>
                  <a:srgbClr val="172A54"/>
                </a:solidFill>
                <a:latin typeface="Arial Black"/>
                <a:ea typeface="Arial Black"/>
                <a:cs typeface="Arial Black"/>
                <a:sym typeface="Arial Black"/>
              </a:rPr>
              <a:t>Kohbee</a:t>
            </a:r>
            <a:r>
              <a:rPr lang="en-US" sz="3200" b="1" kern="0">
                <a:solidFill>
                  <a:srgbClr val="172A54"/>
                </a:solidFill>
                <a:latin typeface="Arial Black"/>
                <a:ea typeface="Arial Black"/>
                <a:cs typeface="Arial Black"/>
                <a:sym typeface="Arial Black"/>
              </a:rPr>
              <a:t> used GenAI to create sales content to build sales funnels for a multilingual audience </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err="1">
                <a:solidFill>
                  <a:srgbClr val="000000"/>
                </a:solidFill>
                <a:cs typeface="Arial"/>
                <a:sym typeface="Arial"/>
              </a:rPr>
              <a:t>Kohbee</a:t>
            </a:r>
            <a:r>
              <a:rPr lang="en-US" sz="1400" kern="0">
                <a:solidFill>
                  <a:srgbClr val="000000"/>
                </a:solidFill>
                <a:cs typeface="Arial"/>
                <a:sym typeface="Arial"/>
              </a:rPr>
              <a:t> allows content creators to focus on educating learners while managing other tasks. However, creating and translating content for a diverse, multilingual audience was challenging. The </a:t>
            </a:r>
            <a:r>
              <a:rPr lang="en-US" sz="1400" kern="0" err="1">
                <a:solidFill>
                  <a:srgbClr val="000000"/>
                </a:solidFill>
                <a:cs typeface="Arial"/>
                <a:sym typeface="Arial"/>
              </a:rPr>
              <a:t>Kohbee</a:t>
            </a:r>
            <a:r>
              <a:rPr lang="en-US" sz="1400" kern="0">
                <a:solidFill>
                  <a:srgbClr val="000000"/>
                </a:solidFill>
                <a:cs typeface="Arial"/>
                <a:sym typeface="Arial"/>
              </a:rPr>
              <a:t> growth team previously worked with freelancers to create SEO blogs, facing challenges such as linguistic issues and finding and hiring the right talent.</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Pepper implemented Localization of the Kohbee app and overseeing end-to-end quality control</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Kohbee outsourced their main content vertical to Pepper Content. They were able to launch themselves in 7 languages and create a series of blogs around the creator economy. Pepper Content also created a series of blogs around the creator economy, which led to them ranking on top of the Google SERP for targeted keyword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5X Faster content creation</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53% Increase in user base</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7 languages Localized</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defTabSz="914400">
              <a:buClr>
                <a:srgbClr val="000000"/>
              </a:buClr>
              <a:defRPr/>
            </a:pPr>
            <a:r>
              <a:rPr lang="en-US" sz="1400" kern="0">
                <a:solidFill>
                  <a:srgbClr val="000000"/>
                </a:solidFill>
                <a:cs typeface="Arial"/>
                <a:sym typeface="Arial"/>
              </a:rPr>
              <a:t>Content Creator App</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89681" y="1657336"/>
            <a:ext cx="1609242"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Pepper Content</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506388"/>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Quality, Agility, Cycle Time</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cess Specific, Medium Value</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12" name="TextBox 11">
            <a:extLst>
              <a:ext uri="{FF2B5EF4-FFF2-40B4-BE49-F238E27FC236}">
                <a16:creationId xmlns:a16="http://schemas.microsoft.com/office/drawing/2014/main" id="{F821F7C6-94E7-0175-B080-E71F00455191}"/>
              </a:ext>
            </a:extLst>
          </p:cNvPr>
          <p:cNvSpPr txBox="1"/>
          <p:nvPr/>
        </p:nvSpPr>
        <p:spPr>
          <a:xfrm>
            <a:off x="3869618" y="6052720"/>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www.peppercontent.io/blog/how-kohbee-increased-its-user-base-by-53/</a:t>
            </a:r>
            <a:r>
              <a:rPr lang="en-US" sz="1000"/>
              <a:t> </a:t>
            </a:r>
          </a:p>
          <a:p>
            <a:pPr defTabSz="914400">
              <a:lnSpc>
                <a:spcPct val="90000"/>
              </a:lnSpc>
              <a:defRPr/>
            </a:pPr>
            <a:r>
              <a:rPr lang="en-US" sz="1000" b="1"/>
              <a:t>Client/Other Source:</a:t>
            </a:r>
          </a:p>
          <a:p>
            <a:pPr defTabSz="914400">
              <a:lnSpc>
                <a:spcPct val="90000"/>
              </a:lnSpc>
              <a:defRPr/>
            </a:pPr>
            <a:r>
              <a:rPr lang="en-US" sz="1000" b="1"/>
              <a:t>Publish Date: 9/2022</a:t>
            </a:r>
          </a:p>
          <a:p>
            <a:pPr defTabSz="914400">
              <a:lnSpc>
                <a:spcPct val="90000"/>
              </a:lnSpc>
              <a:defRPr/>
            </a:pPr>
            <a:endParaRPr lang="en-US" sz="1000"/>
          </a:p>
        </p:txBody>
      </p:sp>
      <p:sp>
        <p:nvSpPr>
          <p:cNvPr id="2" name="TextBox 1">
            <a:extLst>
              <a:ext uri="{FF2B5EF4-FFF2-40B4-BE49-F238E27FC236}">
                <a16:creationId xmlns:a16="http://schemas.microsoft.com/office/drawing/2014/main" id="{AE7C1DDE-4BDF-26A0-3FED-5562C4FCA2DA}"/>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6CA68B33-5110-68D9-F384-C43659C9C3ED}"/>
              </a:ext>
            </a:extLst>
          </p:cNvPr>
          <p:cNvSpPr txBox="1"/>
          <p:nvPr/>
        </p:nvSpPr>
        <p:spPr>
          <a:xfrm>
            <a:off x="2235835" y="1669729"/>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Kohbee</a:t>
            </a:r>
          </a:p>
        </p:txBody>
      </p:sp>
      <p:sp>
        <p:nvSpPr>
          <p:cNvPr id="15" name="TextBox 14">
            <a:extLst>
              <a:ext uri="{FF2B5EF4-FFF2-40B4-BE49-F238E27FC236}">
                <a16:creationId xmlns:a16="http://schemas.microsoft.com/office/drawing/2014/main" id="{0C8B9ADF-4983-0BEC-AEEC-5091DCC8B9E4}"/>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4E366D16-1A48-49E2-0BC6-C42C7C990AAE}"/>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rketing Content Cre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E7F52DDA-DD50-925D-12C7-5F057BDBBB67}"/>
              </a:ext>
            </a:extLst>
          </p:cNvPr>
          <p:cNvSpPr txBox="1"/>
          <p:nvPr/>
        </p:nvSpPr>
        <p:spPr>
          <a:xfrm>
            <a:off x="9591398" y="5981201"/>
            <a:ext cx="1665521" cy="338554"/>
          </a:xfrm>
          <a:prstGeom prst="rect">
            <a:avLst/>
          </a:prstGeom>
          <a:noFill/>
        </p:spPr>
        <p:txBody>
          <a:bodyPr wrap="none" lIns="0" rIns="0" rtlCol="0">
            <a:spAutoFit/>
          </a:bodyPr>
          <a:lstStyle/>
          <a:p>
            <a:pPr algn="l">
              <a:spcBef>
                <a:spcPts val="600"/>
              </a:spcBef>
            </a:pPr>
            <a:r>
              <a:rPr lang="en-US" sz="1600"/>
              <a:t>Case Study ID: 33</a:t>
            </a:r>
          </a:p>
        </p:txBody>
      </p:sp>
    </p:spTree>
    <p:extLst>
      <p:ext uri="{BB962C8B-B14F-4D97-AF65-F5344CB8AC3E}">
        <p14:creationId xmlns:p14="http://schemas.microsoft.com/office/powerpoint/2010/main" val="7276593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2500" b="1" kern="0">
                <a:solidFill>
                  <a:srgbClr val="172A54"/>
                </a:solidFill>
                <a:latin typeface="Arial Black"/>
                <a:ea typeface="Arial Black"/>
                <a:cs typeface="Arial Black"/>
                <a:sym typeface="Arial Black"/>
              </a:rPr>
              <a:t>GE Appliances helps consumers create personalized recipes from the food in their kitchen</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GE Appliances (GEA), a Haier company, and Google Cloud today announced an expansion of their partnership to enhance and personalize consumer experiences with generative AI. </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GE Appliances' SmartHQ consumer app will use Google Cloud's generative AI platform, Vertex AI, to offer users the ability to generate custom recipes based on the food in their kitchen with its new feature called Flavorly AI. SmartHQ Assistant, a conversational AI interface, will also use Google Cloud's generative AI to answer questions about the use and care of connected appliances in the home.</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Create a selection of unique recipes for consumers based on their food preferences and the ingredients they have available in their kitchen.</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Eliminates the need to search through junk drawers to find that missing instruction manual.</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defTabSz="914400">
              <a:buClr>
                <a:srgbClr val="000000"/>
              </a:buClr>
              <a:defRPr/>
            </a:pPr>
            <a:r>
              <a:rPr lang="en-US" sz="1400" kern="0">
                <a:solidFill>
                  <a:srgbClr val="000000"/>
                </a:solidFill>
                <a:cs typeface="Arial"/>
                <a:sym typeface="Arial"/>
              </a:rPr>
              <a:t>Consumer Electronics</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167800" y="1678197"/>
            <a:ext cx="1463028"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Google Cloud</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200">
                <a:solidFill>
                  <a:schemeClr val="tx1"/>
                </a:solidFill>
              </a:rPr>
              <a:t>Innovation, Customer Engagement</a:t>
            </a: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	</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25387ECB-C3A3-9BC4-136E-AB22FF78EA15}"/>
              </a:ext>
            </a:extLst>
          </p:cNvPr>
          <p:cNvSpPr txBox="1"/>
          <p:nvPr/>
        </p:nvSpPr>
        <p:spPr>
          <a:xfrm>
            <a:off x="3869618" y="6052720"/>
            <a:ext cx="6554541" cy="9233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www.prnewswire.com/news-releases/ge-appliances-helps-consumers-create-personalized-recipes-from-the-food-in-their-kitchen-with-google-clouds-generative-ai-301912127.html</a:t>
            </a:r>
            <a:endParaRPr lang="en-US" sz="1000"/>
          </a:p>
          <a:p>
            <a:pPr defTabSz="914400">
              <a:lnSpc>
                <a:spcPct val="90000"/>
              </a:lnSpc>
              <a:defRPr/>
            </a:pPr>
            <a:r>
              <a:rPr lang="en-US" sz="1000" b="1"/>
              <a:t>Publish Date: 8/2023</a:t>
            </a:r>
          </a:p>
          <a:p>
            <a:pPr defTabSz="914400">
              <a:lnSpc>
                <a:spcPct val="90000"/>
              </a:lnSpc>
              <a:defRPr/>
            </a:pP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63D76805-0591-0DAA-90B0-B0F346E25B33}"/>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6B0084FB-1DC1-C68A-E11F-5B9B4D5105CB}"/>
              </a:ext>
            </a:extLst>
          </p:cNvPr>
          <p:cNvSpPr txBox="1"/>
          <p:nvPr/>
        </p:nvSpPr>
        <p:spPr>
          <a:xfrm>
            <a:off x="2190187" y="1673680"/>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GE Appliances</a:t>
            </a:r>
          </a:p>
        </p:txBody>
      </p:sp>
      <p:sp>
        <p:nvSpPr>
          <p:cNvPr id="15" name="TextBox 14">
            <a:extLst>
              <a:ext uri="{FF2B5EF4-FFF2-40B4-BE49-F238E27FC236}">
                <a16:creationId xmlns:a16="http://schemas.microsoft.com/office/drawing/2014/main" id="{17E0E7FB-2681-96AF-D99C-DD2C6F4635AA}"/>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3A72D8D3-EB40-419E-EA55-4CC28E411190}"/>
              </a:ext>
            </a:extLst>
          </p:cNvPr>
          <p:cNvSpPr txBox="1"/>
          <p:nvPr/>
        </p:nvSpPr>
        <p:spPr>
          <a:xfrm>
            <a:off x="2260290" y="2753118"/>
            <a:ext cx="1776741"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rketing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02AF8177-A317-9406-BD55-0F316046BFDD}"/>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72</a:t>
            </a:r>
          </a:p>
        </p:txBody>
      </p:sp>
    </p:spTree>
    <p:extLst>
      <p:ext uri="{BB962C8B-B14F-4D97-AF65-F5344CB8AC3E}">
        <p14:creationId xmlns:p14="http://schemas.microsoft.com/office/powerpoint/2010/main" val="39422097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26786"/>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658475"/>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243840" y="237186"/>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Procter &amp; Gamble is using generative AI to help marketing effort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167800" y="1062864"/>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0924" y="1563781"/>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P&amp;G needed to improve advertising efficiency and effectiveness with a less costly approach to media buying so that it can better analyze first-party data to better target likely consumers of specific product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20411" y="2935209"/>
            <a:ext cx="7956000"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P&amp;G made efforts to in-house marketing functions such as AI development and data analytics. The company leveraged proprietary algorithms that used data from decades of consumer research. It also shifted its strategy to focusing more on owned channels, acquiring first-party data and using an in-house media unit for targeted advertising. P&amp;G brands like Tide and Pampers relied on an AI studio offering to test and optimize their advertising creative.</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8090" y="12181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15588" y="2695229"/>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CPG</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60" name="TextBox 759">
            <a:extLst>
              <a:ext uri="{FF2B5EF4-FFF2-40B4-BE49-F238E27FC236}">
                <a16:creationId xmlns:a16="http://schemas.microsoft.com/office/drawing/2014/main" id="{16F0A96B-3D1E-E8DF-AC52-46F2C43A756E}"/>
              </a:ext>
            </a:extLst>
          </p:cNvPr>
          <p:cNvSpPr txBox="1"/>
          <p:nvPr/>
        </p:nvSpPr>
        <p:spPr>
          <a:xfrm>
            <a:off x="0" y="1726675"/>
            <a:ext cx="1505115"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Procter &amp; Gamble</a:t>
            </a:r>
          </a:p>
        </p:txBody>
      </p:sp>
      <p:sp>
        <p:nvSpPr>
          <p:cNvPr id="2" name="TextBox 1">
            <a:extLst>
              <a:ext uri="{FF2B5EF4-FFF2-40B4-BE49-F238E27FC236}">
                <a16:creationId xmlns:a16="http://schemas.microsoft.com/office/drawing/2014/main" id="{A9A1176E-2350-9C69-FF3C-C8723FF5B0AD}"/>
              </a:ext>
            </a:extLst>
          </p:cNvPr>
          <p:cNvSpPr txBox="1"/>
          <p:nvPr/>
        </p:nvSpPr>
        <p:spPr>
          <a:xfrm>
            <a:off x="3911182" y="6129706"/>
            <a:ext cx="6629356" cy="784830"/>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www.marketingdive.com/news/pg-marc-pritchard-ai-algorithm-marketing-media-efficiency/642986/</a:t>
            </a:r>
            <a:r>
              <a:rPr lang="en-US" sz="1000"/>
              <a:t> </a:t>
            </a:r>
          </a:p>
          <a:p>
            <a:pPr defTabSz="914400">
              <a:lnSpc>
                <a:spcPct val="90000"/>
              </a:lnSpc>
              <a:defRPr/>
            </a:pPr>
            <a:r>
              <a:rPr lang="en-US" sz="1000" b="1"/>
              <a:t>Publish Date: 2/2023</a:t>
            </a:r>
          </a:p>
          <a:p>
            <a:pPr defTabSz="914400">
              <a:lnSpc>
                <a:spcPct val="90000"/>
              </a:lnSpc>
              <a:defRPr/>
            </a:pPr>
            <a:endParaRPr lang="en-US" sz="1000"/>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11868" y="5758220"/>
            <a:ext cx="254097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ffectiveness, Cost Reduction</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9788"/>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		</a:t>
            </a:r>
          </a:p>
        </p:txBody>
      </p:sp>
      <p:sp>
        <p:nvSpPr>
          <p:cNvPr id="3" name="TextBox 2">
            <a:extLst>
              <a:ext uri="{FF2B5EF4-FFF2-40B4-BE49-F238E27FC236}">
                <a16:creationId xmlns:a16="http://schemas.microsoft.com/office/drawing/2014/main" id="{D6A2D854-E8A9-2343-6EB5-08DC1C055919}"/>
              </a:ext>
            </a:extLst>
          </p:cNvPr>
          <p:cNvSpPr txBox="1"/>
          <p:nvPr/>
        </p:nvSpPr>
        <p:spPr>
          <a:xfrm>
            <a:off x="4043439" y="4879151"/>
            <a:ext cx="7946886"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P&amp;G could optimize over 140 ads annually using this approach, boosting Pampers brand's U.S. sales by 10%, increasing return on investment by 17%, and reducing media expenditure by 15%. AI also helped Tide brand efficiently place ads, reducing redundancy and saving $65 million through in-housing fabric care. The company's relationship with marketing service providers also improved</a:t>
            </a:r>
            <a:r>
              <a:rPr lang="en-US" sz="1300" kern="0">
                <a:solidFill>
                  <a:srgbClr val="000000"/>
                </a:solidFill>
                <a:cs typeface="Arial"/>
                <a:sym typeface="Arial"/>
              </a:rPr>
              <a:t>.</a:t>
            </a:r>
          </a:p>
        </p:txBody>
      </p:sp>
      <p:sp>
        <p:nvSpPr>
          <p:cNvPr id="8" name="TextBox 7">
            <a:extLst>
              <a:ext uri="{FF2B5EF4-FFF2-40B4-BE49-F238E27FC236}">
                <a16:creationId xmlns:a16="http://schemas.microsoft.com/office/drawing/2014/main" id="{CBFF18ED-6D0C-66F2-88A5-A0E6B1F20A2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2" name="TextBox 11">
            <a:extLst>
              <a:ext uri="{FF2B5EF4-FFF2-40B4-BE49-F238E27FC236}">
                <a16:creationId xmlns:a16="http://schemas.microsoft.com/office/drawing/2014/main" id="{F9C2D622-E89F-0B62-D823-350B2A0B22C8}"/>
              </a:ext>
            </a:extLst>
          </p:cNvPr>
          <p:cNvSpPr txBox="1"/>
          <p:nvPr/>
        </p:nvSpPr>
        <p:spPr>
          <a:xfrm>
            <a:off x="2260291" y="2753118"/>
            <a:ext cx="178314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rketing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4" name="TextBox 13">
            <a:extLst>
              <a:ext uri="{FF2B5EF4-FFF2-40B4-BE49-F238E27FC236}">
                <a16:creationId xmlns:a16="http://schemas.microsoft.com/office/drawing/2014/main" id="{288E10BF-E12C-EC2D-BC1E-4AC690723861}"/>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95</a:t>
            </a:r>
          </a:p>
        </p:txBody>
      </p:sp>
    </p:spTree>
    <p:extLst>
      <p:ext uri="{BB962C8B-B14F-4D97-AF65-F5344CB8AC3E}">
        <p14:creationId xmlns:p14="http://schemas.microsoft.com/office/powerpoint/2010/main" val="8292829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Stitch Fix is revolutionizing personal styling with generative AI</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Stitch Fix, the online personalized styling service was looking to support business and provide better experiences for clients by automating time-consuming tasks, therefore freeing up our experts to focus on uniquely human activities where they can apply judgment and creativity, such as building relationships with clients or understanding nuanced style request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954107"/>
          </a:xfrm>
          <a:prstGeom prst="rect">
            <a:avLst/>
          </a:prstGeom>
          <a:noFill/>
        </p:spPr>
        <p:txBody>
          <a:bodyPr wrap="square" lIns="91440" tIns="45720" rIns="91440" bIns="45720" rtlCol="0" anchor="t">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Using embeddings from large language models within algorithms to better understand textual client input</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Routing Stitch Fix’s own data through large language models to generate text</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Native outfit modeling capabilitie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 newly implemented generative AI model now creates 10,000 informative product descriptions every 30 minutes, each of which can be reviewed in less than a minute.</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akes less than a minute for copywriters to review each asset and they receive a 77% pass rate.</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Retail</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17814"/>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ChatGPT</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IN" sz="1400">
                <a:solidFill>
                  <a:schemeClr val="tx1"/>
                </a:solidFill>
                <a:cs typeface="Arial"/>
              </a:rPr>
              <a:t>Low</a:t>
            </a:r>
            <a:endParaRPr lang="en-IN" sz="1400">
              <a:solidFill>
                <a:schemeClr val="tx1"/>
              </a:solidFill>
            </a:endParaRP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400">
                <a:solidFill>
                  <a:schemeClr val="tx1"/>
                </a:solidFill>
              </a:rPr>
              <a:t>Productiv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400">
                <a:solidFill>
                  <a:schemeClr val="tx1"/>
                </a:solidFill>
              </a:rPr>
              <a:t>Incremental Value: Task Specific</a:t>
            </a:r>
            <a:endParaRPr lang="en-US">
              <a:solidFill>
                <a:schemeClr val="tx1"/>
              </a:solidFill>
            </a:endParaRP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C810B053-3E80-7DE9-F69A-81747D12EACD}"/>
              </a:ext>
            </a:extLst>
          </p:cNvPr>
          <p:cNvSpPr txBox="1"/>
          <p:nvPr/>
        </p:nvSpPr>
        <p:spPr>
          <a:xfrm>
            <a:off x="3869618" y="6052720"/>
            <a:ext cx="6554541" cy="923330"/>
          </a:xfrm>
          <a:prstGeom prst="rect">
            <a:avLst/>
          </a:prstGeom>
          <a:noFill/>
        </p:spPr>
        <p:txBody>
          <a:bodyPr wrap="square" lIns="0" rIns="0" rtlCol="0">
            <a:spAutoFit/>
          </a:bodyPr>
          <a:lstStyle/>
          <a:p>
            <a:pPr defTabSz="914400">
              <a:lnSpc>
                <a:spcPct val="90000"/>
              </a:lnSpc>
              <a:defRPr/>
            </a:pPr>
            <a:r>
              <a:rPr lang="en-US" sz="1000" b="1"/>
              <a:t>Vendor Source:</a:t>
            </a:r>
            <a:r>
              <a:rPr lang="en-US" sz="1000">
                <a:hlinkClick r:id="rId6"/>
              </a:rPr>
              <a:t> https://newsroom.stitchfix.com/blog/how-were-revolutionizing-personal-styling-with-generative-ai/</a:t>
            </a:r>
            <a:r>
              <a:rPr lang="en-US" sz="1000"/>
              <a:t>, </a:t>
            </a:r>
          </a:p>
          <a:p>
            <a:pPr defTabSz="914400">
              <a:lnSpc>
                <a:spcPct val="90000"/>
              </a:lnSpc>
              <a:defRPr/>
            </a:pPr>
            <a:r>
              <a:rPr lang="en-US" sz="1000" b="1"/>
              <a:t>Client/Other Source: </a:t>
            </a:r>
            <a:r>
              <a:rPr lang="en-US" sz="1000">
                <a:hlinkClick r:id="rId7"/>
              </a:rPr>
              <a:t>https://www.itprotoday.com/artificial-intelligence/stitch-fix-uses-ai-generated-text-dress-product-descriptions#close-modal</a:t>
            </a:r>
            <a:r>
              <a:rPr lang="en-US" sz="1000"/>
              <a:t> </a:t>
            </a:r>
          </a:p>
          <a:p>
            <a:pPr defTabSz="914400">
              <a:lnSpc>
                <a:spcPct val="90000"/>
              </a:lnSpc>
              <a:defRPr/>
            </a:pPr>
            <a:r>
              <a:rPr lang="en-US" sz="1000" b="1"/>
              <a:t>Publish Date: 8/2023</a:t>
            </a:r>
          </a:p>
          <a:p>
            <a:pPr defTabSz="914400">
              <a:lnSpc>
                <a:spcPct val="90000"/>
              </a:lnSpc>
              <a:defRPr/>
            </a:pP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3211C534-2ED8-C038-4396-376B8C9A27A4}"/>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24DCE1DE-6A54-2044-5C2B-53C05A73EF71}"/>
              </a:ext>
            </a:extLst>
          </p:cNvPr>
          <p:cNvSpPr txBox="1"/>
          <p:nvPr/>
        </p:nvSpPr>
        <p:spPr>
          <a:xfrm>
            <a:off x="2190187" y="1713297"/>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Stitch Fix</a:t>
            </a:r>
          </a:p>
        </p:txBody>
      </p:sp>
      <p:sp>
        <p:nvSpPr>
          <p:cNvPr id="14" name="TextBox 13">
            <a:extLst>
              <a:ext uri="{FF2B5EF4-FFF2-40B4-BE49-F238E27FC236}">
                <a16:creationId xmlns:a16="http://schemas.microsoft.com/office/drawing/2014/main" id="{486AB8A0-918D-8DBE-1575-0116F027C0C0}"/>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DD5C42FC-01A6-00D3-3C1C-73121292E5D1}"/>
              </a:ext>
            </a:extLst>
          </p:cNvPr>
          <p:cNvSpPr txBox="1"/>
          <p:nvPr/>
        </p:nvSpPr>
        <p:spPr>
          <a:xfrm>
            <a:off x="2279341" y="2772168"/>
            <a:ext cx="1695053" cy="523220"/>
          </a:xfrm>
          <a:prstGeom prst="rect">
            <a:avLst/>
          </a:prstGeom>
          <a:noFill/>
        </p:spPr>
        <p:txBody>
          <a:bodyPr wrap="square" lIns="91440" tIns="45720" rIns="91440" bIns="45720" rtlCol="0" anchor="t">
            <a:spAutoFit/>
          </a:bodyPr>
          <a:lstStyle/>
          <a:p>
            <a:pPr defTabSz="914400">
              <a:buClr>
                <a:srgbClr val="000000"/>
              </a:buClr>
              <a:defRPr/>
            </a:pPr>
            <a:r>
              <a:rPr lang="en-US" sz="1400" kern="0">
                <a:solidFill>
                  <a:srgbClr val="000000"/>
                </a:solidFill>
                <a:cs typeface="Arial"/>
                <a:sym typeface="Arial"/>
              </a:rPr>
              <a:t>Marketing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EAABD556-B1A0-FAB3-1473-757FC2F7E4C1}"/>
              </a:ext>
            </a:extLst>
          </p:cNvPr>
          <p:cNvSpPr txBox="1"/>
          <p:nvPr/>
        </p:nvSpPr>
        <p:spPr>
          <a:xfrm>
            <a:off x="10333918" y="5940516"/>
            <a:ext cx="1665521" cy="338554"/>
          </a:xfrm>
          <a:prstGeom prst="rect">
            <a:avLst/>
          </a:prstGeom>
          <a:noFill/>
        </p:spPr>
        <p:txBody>
          <a:bodyPr wrap="none" lIns="0" rIns="0" rtlCol="0">
            <a:spAutoFit/>
          </a:bodyPr>
          <a:lstStyle/>
          <a:p>
            <a:pPr algn="l">
              <a:spcBef>
                <a:spcPts val="600"/>
              </a:spcBef>
            </a:pPr>
            <a:r>
              <a:rPr lang="en-US" sz="1600"/>
              <a:t>Case Study ID: 77</a:t>
            </a:r>
          </a:p>
        </p:txBody>
      </p:sp>
    </p:spTree>
    <p:extLst>
      <p:ext uri="{BB962C8B-B14F-4D97-AF65-F5344CB8AC3E}">
        <p14:creationId xmlns:p14="http://schemas.microsoft.com/office/powerpoint/2010/main" val="38898394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2E065-61E7-5CF0-BB06-7D6EA5466D87}"/>
              </a:ext>
            </a:extLst>
          </p:cNvPr>
          <p:cNvSpPr>
            <a:spLocks noGrp="1"/>
          </p:cNvSpPr>
          <p:nvPr>
            <p:ph type="title"/>
          </p:nvPr>
        </p:nvSpPr>
        <p:spPr/>
        <p:txBody>
          <a:bodyPr/>
          <a:lstStyle/>
          <a:p>
            <a:r>
              <a:rPr lang="en-US"/>
              <a:t>Select the Links to Navigate to Case Studies in Each Category</a:t>
            </a:r>
          </a:p>
        </p:txBody>
      </p:sp>
      <p:sp>
        <p:nvSpPr>
          <p:cNvPr id="3" name="Content Placeholder 2">
            <a:extLst>
              <a:ext uri="{FF2B5EF4-FFF2-40B4-BE49-F238E27FC236}">
                <a16:creationId xmlns:a16="http://schemas.microsoft.com/office/drawing/2014/main" id="{B20892C1-70C1-7417-ABCD-3DAF297ABF0A}"/>
              </a:ext>
            </a:extLst>
          </p:cNvPr>
          <p:cNvSpPr>
            <a:spLocks noGrp="1"/>
          </p:cNvSpPr>
          <p:nvPr>
            <p:ph sz="half" idx="1"/>
          </p:nvPr>
        </p:nvSpPr>
        <p:spPr/>
        <p:txBody>
          <a:bodyPr/>
          <a:lstStyle/>
          <a:p>
            <a:r>
              <a:rPr lang="en-US" sz="2000">
                <a:hlinkClick r:id="rId2" action="ppaction://hlinksldjump"/>
              </a:rPr>
              <a:t>Coding Assistants</a:t>
            </a:r>
            <a:endParaRPr lang="en-US" sz="2000"/>
          </a:p>
          <a:p>
            <a:r>
              <a:rPr lang="en-US" sz="2000">
                <a:hlinkClick r:id="rId3" action="ppaction://hlinksldjump"/>
              </a:rPr>
              <a:t>Marketing Content Generation</a:t>
            </a:r>
            <a:endParaRPr lang="en-US" sz="2000"/>
          </a:p>
          <a:p>
            <a:r>
              <a:rPr lang="en-US" sz="2000">
                <a:hlinkClick r:id="rId4" action="ppaction://hlinksldjump"/>
              </a:rPr>
              <a:t>Product Design</a:t>
            </a:r>
            <a:endParaRPr lang="en-US" sz="2000"/>
          </a:p>
          <a:p>
            <a:r>
              <a:rPr lang="en-US" sz="2000">
                <a:hlinkClick r:id="rId5" action="ppaction://hlinksldjump"/>
              </a:rPr>
              <a:t>Synthetic Data</a:t>
            </a:r>
            <a:endParaRPr lang="en-US" sz="2000"/>
          </a:p>
          <a:p>
            <a:r>
              <a:rPr lang="en-US" sz="2000">
                <a:hlinkClick r:id="rId6" action="ppaction://hlinksldjump"/>
              </a:rPr>
              <a:t>Video Content Generation</a:t>
            </a:r>
            <a:endParaRPr lang="en-US" sz="2000"/>
          </a:p>
          <a:p>
            <a:r>
              <a:rPr lang="en-US" sz="2000">
                <a:hlinkClick r:id="rId7" action="ppaction://hlinksldjump"/>
              </a:rPr>
              <a:t>Voice Content Generation</a:t>
            </a:r>
            <a:endParaRPr lang="en-US" sz="2000"/>
          </a:p>
          <a:p>
            <a:r>
              <a:rPr lang="en-US" sz="2000">
                <a:hlinkClick r:id="rId8" action="ppaction://hlinksldjump"/>
              </a:rPr>
              <a:t>Drug Discovery</a:t>
            </a:r>
            <a:endParaRPr lang="en-US" sz="2000"/>
          </a:p>
          <a:p>
            <a:r>
              <a:rPr lang="en-US" sz="2000">
                <a:hlinkClick r:id="rId9" action="ppaction://hlinksldjump"/>
              </a:rPr>
              <a:t>Financial Assistants</a:t>
            </a:r>
            <a:endParaRPr lang="en-US" sz="2000"/>
          </a:p>
          <a:p>
            <a:r>
              <a:rPr lang="en-US" sz="2000">
                <a:hlinkClick r:id="rId10" action="ppaction://hlinksldjump"/>
              </a:rPr>
              <a:t>Manufacturing Optimization</a:t>
            </a:r>
            <a:endParaRPr lang="en-US" sz="2000"/>
          </a:p>
          <a:p>
            <a:r>
              <a:rPr lang="en-US" sz="2000">
                <a:hlinkClick r:id="rId11" action="ppaction://hlinksldjump"/>
              </a:rPr>
              <a:t>Analytics and BI</a:t>
            </a:r>
            <a:endParaRPr lang="en-US" sz="2000"/>
          </a:p>
          <a:p>
            <a:endParaRPr lang="en-US" sz="2000"/>
          </a:p>
          <a:p>
            <a:endParaRPr lang="en-US" sz="2000"/>
          </a:p>
          <a:p>
            <a:endParaRPr lang="en-US" sz="2000"/>
          </a:p>
          <a:p>
            <a:endParaRPr lang="en-US" sz="2000"/>
          </a:p>
          <a:p>
            <a:endParaRPr lang="en-US" sz="2000"/>
          </a:p>
          <a:p>
            <a:endParaRPr lang="en-US" sz="2000"/>
          </a:p>
          <a:p>
            <a:endParaRPr lang="en-US" sz="2000"/>
          </a:p>
          <a:p>
            <a:endParaRPr lang="en-US" sz="2000"/>
          </a:p>
          <a:p>
            <a:endParaRPr lang="en-US" sz="2000"/>
          </a:p>
          <a:p>
            <a:endParaRPr lang="en-US" sz="2000"/>
          </a:p>
          <a:p>
            <a:endParaRPr lang="en-US" sz="2000"/>
          </a:p>
          <a:p>
            <a:endParaRPr lang="en-US" sz="2000"/>
          </a:p>
          <a:p>
            <a:endParaRPr lang="en-US" sz="2000"/>
          </a:p>
        </p:txBody>
      </p:sp>
      <p:sp>
        <p:nvSpPr>
          <p:cNvPr id="4" name="Content Placeholder 3">
            <a:extLst>
              <a:ext uri="{FF2B5EF4-FFF2-40B4-BE49-F238E27FC236}">
                <a16:creationId xmlns:a16="http://schemas.microsoft.com/office/drawing/2014/main" id="{EB07B54A-EAFD-8303-7EFF-AA740212A94D}"/>
              </a:ext>
            </a:extLst>
          </p:cNvPr>
          <p:cNvSpPr>
            <a:spLocks noGrp="1"/>
          </p:cNvSpPr>
          <p:nvPr>
            <p:ph sz="half" idx="2"/>
          </p:nvPr>
        </p:nvSpPr>
        <p:spPr/>
        <p:txBody>
          <a:bodyPr/>
          <a:lstStyle/>
          <a:p>
            <a:r>
              <a:rPr lang="en-US" sz="2000">
                <a:hlinkClick r:id="rId12" action="ppaction://hlinksldjump"/>
              </a:rPr>
              <a:t>Medical Assistants</a:t>
            </a:r>
            <a:endParaRPr lang="en-US" sz="2000"/>
          </a:p>
          <a:p>
            <a:r>
              <a:rPr lang="en-US" sz="2000">
                <a:hlinkClick r:id="rId13" action="ppaction://hlinksldjump"/>
              </a:rPr>
              <a:t>Education Assistants</a:t>
            </a:r>
            <a:endParaRPr lang="en-US" sz="2000"/>
          </a:p>
          <a:p>
            <a:r>
              <a:rPr lang="en-US" sz="2000">
                <a:hlinkClick r:id="rId14" action="ppaction://hlinksldjump"/>
              </a:rPr>
              <a:t>Citizen Assistants</a:t>
            </a:r>
            <a:endParaRPr lang="en-US" sz="2000"/>
          </a:p>
          <a:p>
            <a:r>
              <a:rPr lang="en-US" sz="2000">
                <a:hlinkClick r:id="rId15" action="ppaction://hlinksldjump"/>
              </a:rPr>
              <a:t>Conversational Interface</a:t>
            </a:r>
            <a:endParaRPr lang="en-US" sz="2000"/>
          </a:p>
          <a:p>
            <a:r>
              <a:rPr lang="en-US" sz="2000">
                <a:hlinkClick r:id="rId16" action="ppaction://hlinksldjump"/>
              </a:rPr>
              <a:t>Business Productivity</a:t>
            </a:r>
            <a:endParaRPr lang="en-US" sz="2000"/>
          </a:p>
          <a:p>
            <a:r>
              <a:rPr lang="en-US" sz="2000">
                <a:hlinkClick r:id="rId17" action="ppaction://hlinksldjump"/>
              </a:rPr>
              <a:t>Sales Content Generation</a:t>
            </a:r>
            <a:endParaRPr lang="en-US" sz="2000"/>
          </a:p>
          <a:p>
            <a:r>
              <a:rPr lang="en-US" sz="2000">
                <a:hlinkClick r:id="rId18" action="ppaction://hlinksldjump"/>
              </a:rPr>
              <a:t>Customer Support</a:t>
            </a:r>
            <a:endParaRPr lang="en-US" sz="2000"/>
          </a:p>
          <a:p>
            <a:r>
              <a:rPr lang="en-US" sz="2000">
                <a:hlinkClick r:id="rId19" action="ppaction://hlinksldjump"/>
              </a:rPr>
              <a:t>Document Search and Summary</a:t>
            </a:r>
            <a:endParaRPr lang="en-US" sz="2000"/>
          </a:p>
          <a:p>
            <a:r>
              <a:rPr lang="en-US" sz="2000">
                <a:hlinkClick r:id="rId20" action="ppaction://hlinksldjump"/>
              </a:rPr>
              <a:t>Fast Cycle Innovation</a:t>
            </a:r>
            <a:endParaRPr lang="en-US" sz="2000"/>
          </a:p>
          <a:p>
            <a:r>
              <a:rPr lang="en-US" sz="2000">
                <a:hlinkClick r:id="rId21" action="ppaction://hlinksldjump"/>
              </a:rPr>
              <a:t>Supply Chain Optimization</a:t>
            </a:r>
            <a:endParaRPr lang="en-US" sz="2000"/>
          </a:p>
          <a:p>
            <a:r>
              <a:rPr lang="en-US" sz="2000">
                <a:hlinkClick r:id="rId22" action="ppaction://hlinksldjump"/>
              </a:rPr>
              <a:t>Fraud Detection</a:t>
            </a:r>
            <a:endParaRPr lang="en-US" sz="2000"/>
          </a:p>
          <a:p>
            <a:endParaRPr lang="en-US" sz="2000"/>
          </a:p>
        </p:txBody>
      </p:sp>
    </p:spTree>
    <p:extLst>
      <p:ext uri="{BB962C8B-B14F-4D97-AF65-F5344CB8AC3E}">
        <p14:creationId xmlns:p14="http://schemas.microsoft.com/office/powerpoint/2010/main" val="22794698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Carrefour uses ChatGPT to achieve efficiency and quality for product information​</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Generative AI is used to enrich Carrefour brand product sheets. The intent is to make the content of product descriptions more useful to customers, provide better consistency, and speed up the process of writing product descriptions.  ​</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43439" y="2993583"/>
            <a:ext cx="7911128"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Microsoft OpenAI Azure Service is used to access OpenAI’s GPT-4 technology. At the same time, leveraging all of Microsoft Azure’s data security, reliability and confidentiality features, to ensure compliance with GDPR (general data protection regulation).​</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GenAI language models create content for digital and physical marketing and merchandising activities, such as ad copy, product descriptions, product attribute identification and management of product information. Applied to 2,000 products presently, Carrefour wants to use this technology for all of its product sheet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Retail</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7F305365-29CA-C7B5-6E3F-210DC60ACF6E}"/>
              </a:ext>
            </a:extLst>
          </p:cNvPr>
          <p:cNvSpPr txBox="1"/>
          <p:nvPr/>
        </p:nvSpPr>
        <p:spPr>
          <a:xfrm>
            <a:off x="3911182" y="6129706"/>
            <a:ext cx="6554541" cy="784830"/>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www.carrefour.com/en/news/2023/carrefour-integrates-openai-technologies-and-launches-generative-ai-powered-shopping</a:t>
            </a:r>
            <a:endParaRPr lang="en-US" sz="1000"/>
          </a:p>
          <a:p>
            <a:pPr defTabSz="914400">
              <a:lnSpc>
                <a:spcPct val="90000"/>
              </a:lnSpc>
              <a:defRPr/>
            </a:pPr>
            <a:r>
              <a:rPr lang="en-US" sz="1000" b="1"/>
              <a:t>Publish Date: 06/2023</a:t>
            </a:r>
          </a:p>
          <a:p>
            <a:pPr defTabSz="914400">
              <a:lnSpc>
                <a:spcPct val="90000"/>
              </a:lnSpc>
              <a:defRPr/>
            </a:pPr>
            <a:endParaRPr lang="en-US" sz="1000"/>
          </a:p>
        </p:txBody>
      </p:sp>
      <p:sp>
        <p:nvSpPr>
          <p:cNvPr id="2" name="TextBox 1">
            <a:extLst>
              <a:ext uri="{FF2B5EF4-FFF2-40B4-BE49-F238E27FC236}">
                <a16:creationId xmlns:a16="http://schemas.microsoft.com/office/drawing/2014/main" id="{8C275B1D-3497-1C2D-A937-151608D42AD5}"/>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5" name="TextBox 14">
            <a:extLst>
              <a:ext uri="{FF2B5EF4-FFF2-40B4-BE49-F238E27FC236}">
                <a16:creationId xmlns:a16="http://schemas.microsoft.com/office/drawing/2014/main" id="{E8A83B76-EA8D-C113-029A-573566691D5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60AFD7A3-3381-BC80-1030-669AFE6D746E}"/>
              </a:ext>
            </a:extLst>
          </p:cNvPr>
          <p:cNvSpPr txBox="1"/>
          <p:nvPr/>
        </p:nvSpPr>
        <p:spPr>
          <a:xfrm>
            <a:off x="2229932" y="2753118"/>
            <a:ext cx="1681249"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rketing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485B9F8-9806-D2FC-8CAF-164905405243}"/>
              </a:ext>
            </a:extLst>
          </p:cNvPr>
          <p:cNvSpPr txBox="1"/>
          <p:nvPr/>
        </p:nvSpPr>
        <p:spPr>
          <a:xfrm>
            <a:off x="8569828" y="5964515"/>
            <a:ext cx="1779333" cy="338554"/>
          </a:xfrm>
          <a:prstGeom prst="rect">
            <a:avLst/>
          </a:prstGeom>
          <a:noFill/>
        </p:spPr>
        <p:txBody>
          <a:bodyPr wrap="none" lIns="0" rIns="0" rtlCol="0">
            <a:spAutoFit/>
          </a:bodyPr>
          <a:lstStyle/>
          <a:p>
            <a:pPr algn="l">
              <a:spcBef>
                <a:spcPts val="600"/>
              </a:spcBef>
            </a:pPr>
            <a:r>
              <a:rPr lang="en-US" sz="1600"/>
              <a:t>Case Study ID: 106</a:t>
            </a:r>
          </a:p>
        </p:txBody>
      </p:sp>
      <p:sp>
        <p:nvSpPr>
          <p:cNvPr id="19" name="TextBox 18">
            <a:extLst>
              <a:ext uri="{FF2B5EF4-FFF2-40B4-BE49-F238E27FC236}">
                <a16:creationId xmlns:a16="http://schemas.microsoft.com/office/drawing/2014/main" id="{908584C9-8053-BAF4-2837-F31222763A77}"/>
              </a:ext>
            </a:extLst>
          </p:cNvPr>
          <p:cNvSpPr txBox="1"/>
          <p:nvPr/>
        </p:nvSpPr>
        <p:spPr>
          <a:xfrm>
            <a:off x="2040328" y="1788585"/>
            <a:ext cx="1840353"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Carrefour</a:t>
            </a:r>
          </a:p>
        </p:txBody>
      </p:sp>
      <p:sp>
        <p:nvSpPr>
          <p:cNvPr id="20" name="TextBox 19">
            <a:extLst>
              <a:ext uri="{FF2B5EF4-FFF2-40B4-BE49-F238E27FC236}">
                <a16:creationId xmlns:a16="http://schemas.microsoft.com/office/drawing/2014/main" id="{8BC02F85-542C-62AC-AE9B-960CD2FC3FDC}"/>
              </a:ext>
            </a:extLst>
          </p:cNvPr>
          <p:cNvSpPr txBox="1"/>
          <p:nvPr/>
        </p:nvSpPr>
        <p:spPr>
          <a:xfrm>
            <a:off x="31664" y="1792384"/>
            <a:ext cx="1630828"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ChatGPT</a:t>
            </a:r>
            <a:endParaRPr lang="en-US" sz="1400" b="1" kern="0">
              <a:solidFill>
                <a:srgbClr val="000000"/>
              </a:solidFill>
              <a:cs typeface="Arial"/>
              <a:sym typeface="Arial"/>
            </a:endParaRPr>
          </a:p>
        </p:txBody>
      </p:sp>
      <p:sp>
        <p:nvSpPr>
          <p:cNvPr id="8" name="Rectangle 7">
            <a:extLst>
              <a:ext uri="{FF2B5EF4-FFF2-40B4-BE49-F238E27FC236}">
                <a16:creationId xmlns:a16="http://schemas.microsoft.com/office/drawing/2014/main" id="{A68D5E23-72DC-7317-3E70-7D71B7BA80BC}"/>
              </a:ext>
            </a:extLst>
          </p:cNvPr>
          <p:cNvSpPr/>
          <p:nvPr/>
        </p:nvSpPr>
        <p:spPr>
          <a:xfrm>
            <a:off x="334496" y="5776431"/>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fficiency, Effectiveness</a:t>
            </a:r>
          </a:p>
        </p:txBody>
      </p:sp>
    </p:spTree>
    <p:extLst>
      <p:ext uri="{BB962C8B-B14F-4D97-AF65-F5344CB8AC3E}">
        <p14:creationId xmlns:p14="http://schemas.microsoft.com/office/powerpoint/2010/main" val="7697256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D34BC-C6E3-2F56-BF5B-4A786DB08B24}"/>
              </a:ext>
            </a:extLst>
          </p:cNvPr>
          <p:cNvSpPr>
            <a:spLocks noGrp="1"/>
          </p:cNvSpPr>
          <p:nvPr>
            <p:ph type="title"/>
          </p:nvPr>
        </p:nvSpPr>
        <p:spPr/>
        <p:txBody>
          <a:bodyPr/>
          <a:lstStyle/>
          <a:p>
            <a:r>
              <a:rPr lang="en-US"/>
              <a:t>Product Design</a:t>
            </a:r>
          </a:p>
        </p:txBody>
      </p:sp>
      <p:sp>
        <p:nvSpPr>
          <p:cNvPr id="4" name="TextBox 3">
            <a:extLst>
              <a:ext uri="{FF2B5EF4-FFF2-40B4-BE49-F238E27FC236}">
                <a16:creationId xmlns:a16="http://schemas.microsoft.com/office/drawing/2014/main" id="{F0F05C64-D282-BEDD-BB6B-3F41ED1B8526}"/>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28267568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Toyota uses generative AI for new vehicle designs </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oyota is utilizing generative AI for new vehicle designs, allowing designers to incorporate initial design sketches and engineering constraints into the creative process, thereby reducing the number of iterations required for prototype creation, according to a new Toyota Research Institute technique.</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oyota utilizes Generative AI in Vehicle Design in the following way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Utilizes optimization theory for computer-assisted engineering.</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Creates new algorithm for text-to-image-based generative AI.</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Optimizes performance metrics while retaining style.</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Accelerates electric vehicle design for efficiency.</a:t>
            </a:r>
            <a:endParaRPr lang="en-IN" sz="1400" b="1" kern="0">
              <a:solidFill>
                <a:srgbClr val="000000"/>
              </a:solidFill>
              <a:cs typeface="Arial"/>
              <a:sym typeface="Arial"/>
            </a:endParaRP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492443"/>
          </a:xfrm>
          <a:prstGeom prst="rect">
            <a:avLst/>
          </a:prstGeom>
          <a:noFill/>
        </p:spPr>
        <p:txBody>
          <a:bodyPr wrap="square" rtlCol="0">
            <a:spAutoFit/>
          </a:bodyPr>
          <a:lstStyle/>
          <a:p>
            <a:pPr algn="just" defTabSz="914400">
              <a:buClr>
                <a:srgbClr val="000000"/>
              </a:buClr>
            </a:pPr>
            <a:r>
              <a:rPr lang="en-US" sz="1300" kern="0">
                <a:solidFill>
                  <a:srgbClr val="000000"/>
                </a:solidFill>
                <a:cs typeface="Arial"/>
                <a:sym typeface="Arial"/>
              </a:rPr>
              <a:t>By incorporating Generative AI into the design process, Toyota has managed to accelerate time to design to prototype new auto designs</a:t>
            </a:r>
            <a:endParaRPr lang="en-US" sz="1300" b="1" kern="0">
              <a:solidFill>
                <a:srgbClr val="00000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12481" y="1241904"/>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Auto</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139041" y="1703233"/>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Toyota</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New Design Process</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6F2287EC-78B2-C817-D8F0-046C3C5D784A}"/>
              </a:ext>
            </a:extLst>
          </p:cNvPr>
          <p:cNvSpPr txBox="1"/>
          <p:nvPr/>
        </p:nvSpPr>
        <p:spPr>
          <a:xfrm>
            <a:off x="3869618" y="6060349"/>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pressroom.toyota.com/toyota-research-institute-unveils-new-generative-ai-technique-for-vehicle-design/</a:t>
            </a:r>
            <a:endParaRPr lang="en-US" sz="1000"/>
          </a:p>
          <a:p>
            <a:pPr defTabSz="914400">
              <a:lnSpc>
                <a:spcPct val="90000"/>
              </a:lnSpc>
              <a:defRPr/>
            </a:pPr>
            <a:r>
              <a:rPr lang="en-US" sz="1000" b="1"/>
              <a:t>Publish Date: 6/</a:t>
            </a:r>
            <a:r>
              <a:rPr lang="en-US" sz="1000"/>
              <a:t>2023</a:t>
            </a:r>
          </a:p>
          <a:p>
            <a:pPr defTabSz="914400">
              <a:lnSpc>
                <a:spcPct val="90000"/>
              </a:lnSpc>
              <a:defRPr/>
            </a:pPr>
            <a:endParaRPr lang="en-US" sz="1000"/>
          </a:p>
        </p:txBody>
      </p:sp>
      <p:sp>
        <p:nvSpPr>
          <p:cNvPr id="2" name="TextBox 1">
            <a:extLst>
              <a:ext uri="{FF2B5EF4-FFF2-40B4-BE49-F238E27FC236}">
                <a16:creationId xmlns:a16="http://schemas.microsoft.com/office/drawing/2014/main" id="{07A98B3F-95D5-8DDC-07F3-B832CF54130A}"/>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2" name="TextBox 11">
            <a:extLst>
              <a:ext uri="{FF2B5EF4-FFF2-40B4-BE49-F238E27FC236}">
                <a16:creationId xmlns:a16="http://schemas.microsoft.com/office/drawing/2014/main" id="{981A36DE-7821-FAD9-2862-0DC96B2437EF}"/>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Product Desig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4" name="TextBox 13">
            <a:extLst>
              <a:ext uri="{FF2B5EF4-FFF2-40B4-BE49-F238E27FC236}">
                <a16:creationId xmlns:a16="http://schemas.microsoft.com/office/drawing/2014/main" id="{9F7B02E9-2B4F-1C5E-98C6-32BF30B1E9E7}"/>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19</a:t>
            </a:r>
          </a:p>
        </p:txBody>
      </p:sp>
    </p:spTree>
    <p:extLst>
      <p:ext uri="{BB962C8B-B14F-4D97-AF65-F5344CB8AC3E}">
        <p14:creationId xmlns:p14="http://schemas.microsoft.com/office/powerpoint/2010/main" val="22329452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Levi’s will test AI-generated clothing models to ‘increase diversity’</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Levi’s, as a brand wanted to diversify their online shopping experience. They partnered with Lalaland.ai, a digital fashion studio that creates realistic AI-generated fashion model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Levi's is partnering with AI to create more body-inclusive clothing models, allowing customers to view products on various body types, ages, sizes, and skin tones.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is could help consumers who are frustrated with clothing items not being modeled on a body that resembles their own, thereby improving the overall shopping experience.</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30777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It allows Levi's to publish more images of their products across a range of body types more quickly. </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Marketing</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92367"/>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Lalaland</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7" y="5748389"/>
            <a:ext cx="3402211" cy="507831"/>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Quality, Diversity, Customer Engagement</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AEBE0E8E-FCFB-BC83-BFEC-7847C4F2CCED}"/>
              </a:ext>
            </a:extLst>
          </p:cNvPr>
          <p:cNvSpPr txBox="1"/>
          <p:nvPr/>
        </p:nvSpPr>
        <p:spPr>
          <a:xfrm>
            <a:off x="3869618" y="6060349"/>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www.theverge.com/2023/3/27/23658385/levis-ai-generated-clothing-model-diversity-denim</a:t>
            </a:r>
            <a:endParaRPr lang="en-US" sz="1000"/>
          </a:p>
          <a:p>
            <a:pPr defTabSz="914400">
              <a:lnSpc>
                <a:spcPct val="90000"/>
              </a:lnSpc>
              <a:defRPr/>
            </a:pPr>
            <a:r>
              <a:rPr lang="en-US" sz="1000" b="1"/>
              <a:t>Publish Date: 7/</a:t>
            </a:r>
            <a:r>
              <a:rPr lang="en-US" sz="1000"/>
              <a:t>2023</a:t>
            </a:r>
          </a:p>
          <a:p>
            <a:pPr defTabSz="914400">
              <a:lnSpc>
                <a:spcPct val="90000"/>
              </a:lnSpc>
              <a:defRPr/>
            </a:pPr>
            <a:endParaRPr lang="en-US" sz="1000"/>
          </a:p>
        </p:txBody>
      </p:sp>
      <p:sp>
        <p:nvSpPr>
          <p:cNvPr id="2" name="TextBox 1">
            <a:extLst>
              <a:ext uri="{FF2B5EF4-FFF2-40B4-BE49-F238E27FC236}">
                <a16:creationId xmlns:a16="http://schemas.microsoft.com/office/drawing/2014/main" id="{14DEAB79-B9DD-CF04-5051-860A1198E96E}"/>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D5F36D6A-22BB-A22F-D43B-D02C68B64FBD}"/>
              </a:ext>
            </a:extLst>
          </p:cNvPr>
          <p:cNvSpPr txBox="1"/>
          <p:nvPr/>
        </p:nvSpPr>
        <p:spPr>
          <a:xfrm>
            <a:off x="2229933" y="1790212"/>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Levi’s</a:t>
            </a:r>
          </a:p>
        </p:txBody>
      </p:sp>
      <p:sp>
        <p:nvSpPr>
          <p:cNvPr id="15" name="TextBox 14">
            <a:extLst>
              <a:ext uri="{FF2B5EF4-FFF2-40B4-BE49-F238E27FC236}">
                <a16:creationId xmlns:a16="http://schemas.microsoft.com/office/drawing/2014/main" id="{FAD1066E-402E-CE6A-439B-F130B93416ED}"/>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9E65778B-A20F-C32C-1454-C32C2347E1A3}"/>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Product Desig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49D37204-F443-1FA6-BBEB-48C244E60D92}"/>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14</a:t>
            </a:r>
          </a:p>
        </p:txBody>
      </p:sp>
    </p:spTree>
    <p:extLst>
      <p:ext uri="{BB962C8B-B14F-4D97-AF65-F5344CB8AC3E}">
        <p14:creationId xmlns:p14="http://schemas.microsoft.com/office/powerpoint/2010/main" val="8587794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Mattel increased productivity by using Microsoft AI - DALL∙E 2</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toy company Mattel was looking for inspiration and ideas to come up with a new Hot Wheels model car. The designers could use generative AI to refine the design by asking DALL∙E 2 to try it in different colors and adjustments based on what people describe in plainspoken language</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384995"/>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Mattel designers sought inspiration from DALL∙E 2, offered by Microsoft’s Azure OpenAI Service that creates custom images and art based on what people describe in plainspoken language</a:t>
            </a:r>
          </a:p>
          <a:p>
            <a:pPr algn="just" defTabSz="914400">
              <a:buClr>
                <a:srgbClr val="000000"/>
              </a:buClr>
            </a:pPr>
            <a:r>
              <a:rPr lang="en-US" sz="1400" kern="0">
                <a:solidFill>
                  <a:srgbClr val="000000"/>
                </a:solidFill>
                <a:cs typeface="Arial"/>
                <a:sym typeface="Arial"/>
              </a:rPr>
              <a:t>The tool allows designers to input a prompt, such as "A scale model of a classic car," and DALL∙E 2 generates a vintage car image. The designers can then refine the images to create a final rendering. The designers could continue to refine the design by asking DALL∙E 2 to try it in different colors and with the soft-top on and so on.</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Mattel designers were able to generate dozens of images, each iteration sparking and refining ideas that could help design a final fleshed-out rendering of a new Hot Wheels model car</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Toy Industry</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36102"/>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DALL-E 2</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Innovation, Productivity</a:t>
            </a: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BFBEE7B6-F18E-690C-03CE-A539BE87A58D}"/>
              </a:ext>
            </a:extLst>
          </p:cNvPr>
          <p:cNvSpPr txBox="1"/>
          <p:nvPr/>
        </p:nvSpPr>
        <p:spPr>
          <a:xfrm>
            <a:off x="3869618" y="6060349"/>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news.microsoft.com/source/features/ai/from-hot-wheels-to-handling-content-how-brands-are-using-microsoft-ai-to-be-more-productive-and-imaginative/</a:t>
            </a:r>
            <a:endParaRPr lang="en-US" sz="1000"/>
          </a:p>
          <a:p>
            <a:pPr defTabSz="914400">
              <a:lnSpc>
                <a:spcPct val="90000"/>
              </a:lnSpc>
              <a:defRPr/>
            </a:pPr>
            <a:r>
              <a:rPr lang="en-US" sz="1000" b="1"/>
              <a:t>Publish Date: 10/2022</a:t>
            </a:r>
            <a:endParaRPr lang="en-US" sz="1000"/>
          </a:p>
        </p:txBody>
      </p:sp>
      <p:sp>
        <p:nvSpPr>
          <p:cNvPr id="2" name="TextBox 1">
            <a:extLst>
              <a:ext uri="{FF2B5EF4-FFF2-40B4-BE49-F238E27FC236}">
                <a16:creationId xmlns:a16="http://schemas.microsoft.com/office/drawing/2014/main" id="{6A65BE99-9003-2A8F-D160-ABBBD2581992}"/>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27ED1D3E-4DF9-C9F8-23B1-8C9CD0B5147A}"/>
              </a:ext>
            </a:extLst>
          </p:cNvPr>
          <p:cNvSpPr txBox="1"/>
          <p:nvPr/>
        </p:nvSpPr>
        <p:spPr>
          <a:xfrm>
            <a:off x="2229933" y="1733947"/>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Mattel</a:t>
            </a:r>
          </a:p>
        </p:txBody>
      </p:sp>
      <p:sp>
        <p:nvSpPr>
          <p:cNvPr id="15" name="TextBox 14">
            <a:extLst>
              <a:ext uri="{FF2B5EF4-FFF2-40B4-BE49-F238E27FC236}">
                <a16:creationId xmlns:a16="http://schemas.microsoft.com/office/drawing/2014/main" id="{E7AD5165-F9D9-2E8E-F3F6-A1D52AE0D285}"/>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B6B8801C-0CEE-8BE7-FB6E-D8DE6B0FF15C}"/>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Product Desig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1AEA24FA-316B-A6D2-1CCA-224A4FF32E29}"/>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64</a:t>
            </a:r>
          </a:p>
        </p:txBody>
      </p:sp>
    </p:spTree>
    <p:extLst>
      <p:ext uri="{BB962C8B-B14F-4D97-AF65-F5344CB8AC3E}">
        <p14:creationId xmlns:p14="http://schemas.microsoft.com/office/powerpoint/2010/main" val="4729511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532596"/>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FOX Sports to transform viewer experiences with generative AI</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FOX Sports is expanding its partnership with Google Cloud to include generative artificial intelligence (AI) technology, allowing it to create new content from its audio and video archive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Google’s Vertex AI Vision platform can ingest and analyze huge quantities of data relating to live sporting events, uses computer vision technology to understand what is happening on the field of play, as well as provide additional context and metadata.</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3926750" y="4917681"/>
            <a:ext cx="8049661" cy="1169551"/>
          </a:xfrm>
          <a:prstGeom prst="rect">
            <a:avLst/>
          </a:prstGeom>
          <a:noFill/>
        </p:spPr>
        <p:txBody>
          <a:bodyPr wrap="square" rtlCol="0">
            <a:spAutoFit/>
          </a:bodyPr>
          <a:lstStyle/>
          <a:p>
            <a:pPr marL="171450" indent="-171450" algn="just" defTabSz="914400">
              <a:buClr>
                <a:srgbClr val="000000"/>
              </a:buClr>
              <a:buFont typeface="Arial" panose="020B0604020202020204" pitchFamily="34" charset="0"/>
              <a:buChar char="•"/>
            </a:pPr>
            <a:r>
              <a:rPr lang="en-US" sz="1400" kern="0">
                <a:solidFill>
                  <a:srgbClr val="000000"/>
                </a:solidFill>
                <a:cs typeface="Arial"/>
                <a:sym typeface="Arial"/>
              </a:rPr>
              <a:t>FOX Sports is using Vertex AI Vision, a next-generation AI technology from Google Cloud, to create and curate real-time content for its global audience. </a:t>
            </a:r>
          </a:p>
          <a:p>
            <a:pPr marL="171450" indent="-171450" algn="just" defTabSz="914400">
              <a:buClr>
                <a:srgbClr val="000000"/>
              </a:buClr>
              <a:buFont typeface="Arial" panose="020B0604020202020204" pitchFamily="34" charset="0"/>
              <a:buChar char="•"/>
            </a:pPr>
            <a:r>
              <a:rPr lang="en-US" sz="1400" kern="0">
                <a:solidFill>
                  <a:srgbClr val="000000"/>
                </a:solidFill>
                <a:cs typeface="Arial"/>
                <a:sym typeface="Arial"/>
              </a:rPr>
              <a:t>The platform can search through over 1.9 million films and improve live event elements by absorbing live video and images faster, analyzing game footage, and assisting FOX staff in producing new content, social media clips, and marketing asset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Sport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167800" y="1653806"/>
            <a:ext cx="146072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Google Cloud</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fficiency, Effectiveness</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46E4E99E-ABA6-3582-2BAA-9DD14D129A85}"/>
              </a:ext>
            </a:extLst>
          </p:cNvPr>
          <p:cNvSpPr txBox="1"/>
          <p:nvPr/>
        </p:nvSpPr>
        <p:spPr>
          <a:xfrm>
            <a:off x="3911182" y="6129706"/>
            <a:ext cx="6554541" cy="923330"/>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www.sportspromedia.com/news/fox-sports-google-cloud-gen-ai-tech-media-asset/, https://www.prnewswire.com/news-releases/google-cloud-and-fox-sports-to-transform-viewer-experiences-with-generative-ai-301912148.html </a:t>
            </a:r>
            <a:endParaRPr lang="en-US" sz="1000"/>
          </a:p>
          <a:p>
            <a:pPr defTabSz="914400">
              <a:lnSpc>
                <a:spcPct val="90000"/>
              </a:lnSpc>
              <a:defRPr/>
            </a:pPr>
            <a:r>
              <a:rPr lang="en-US" sz="1000" b="1"/>
              <a:t>Publish Date: 8/2023</a:t>
            </a:r>
          </a:p>
          <a:p>
            <a:pPr defTabSz="914400">
              <a:lnSpc>
                <a:spcPct val="90000"/>
              </a:lnSpc>
              <a:defRPr/>
            </a:pPr>
            <a:endParaRPr lang="en-US" sz="1000"/>
          </a:p>
        </p:txBody>
      </p:sp>
      <p:sp>
        <p:nvSpPr>
          <p:cNvPr id="2" name="TextBox 1">
            <a:extLst>
              <a:ext uri="{FF2B5EF4-FFF2-40B4-BE49-F238E27FC236}">
                <a16:creationId xmlns:a16="http://schemas.microsoft.com/office/drawing/2014/main" id="{95F7696B-2630-85FB-84FB-CA8DDFA07A82}"/>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4B70E307-DAE3-83BC-003A-38FABC51E995}"/>
              </a:ext>
            </a:extLst>
          </p:cNvPr>
          <p:cNvSpPr txBox="1"/>
          <p:nvPr/>
        </p:nvSpPr>
        <p:spPr>
          <a:xfrm>
            <a:off x="2190187" y="1649289"/>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FOX Sports</a:t>
            </a:r>
          </a:p>
        </p:txBody>
      </p:sp>
      <p:sp>
        <p:nvSpPr>
          <p:cNvPr id="15" name="TextBox 14">
            <a:extLst>
              <a:ext uri="{FF2B5EF4-FFF2-40B4-BE49-F238E27FC236}">
                <a16:creationId xmlns:a16="http://schemas.microsoft.com/office/drawing/2014/main" id="{825AEF6B-C8F9-C1F5-6DE5-7BB2E0B0D6B2}"/>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B59E709C-EC45-BE10-4A18-A17C2928F62F}"/>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Product Desig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D371A66-F41E-04C0-618D-D46F4A88C74E}"/>
              </a:ext>
            </a:extLst>
          </p:cNvPr>
          <p:cNvSpPr txBox="1"/>
          <p:nvPr/>
        </p:nvSpPr>
        <p:spPr>
          <a:xfrm>
            <a:off x="8800202" y="6045531"/>
            <a:ext cx="1665521" cy="338554"/>
          </a:xfrm>
          <a:prstGeom prst="rect">
            <a:avLst/>
          </a:prstGeom>
          <a:noFill/>
        </p:spPr>
        <p:txBody>
          <a:bodyPr wrap="none" lIns="0" rIns="0" rtlCol="0">
            <a:spAutoFit/>
          </a:bodyPr>
          <a:lstStyle/>
          <a:p>
            <a:pPr algn="l">
              <a:spcBef>
                <a:spcPts val="600"/>
              </a:spcBef>
            </a:pPr>
            <a:r>
              <a:rPr lang="en-US" sz="1600"/>
              <a:t>Case Study ID: 83</a:t>
            </a:r>
          </a:p>
        </p:txBody>
      </p:sp>
    </p:spTree>
    <p:extLst>
      <p:ext uri="{BB962C8B-B14F-4D97-AF65-F5344CB8AC3E}">
        <p14:creationId xmlns:p14="http://schemas.microsoft.com/office/powerpoint/2010/main" val="1585400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26786"/>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658475"/>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252153" y="284656"/>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General Motors utilizes generative AI to optimize vehicle parts and reduce weight</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167800" y="1078767"/>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0924" y="1563781"/>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General Motors is using new, advanced software design technology to introduce the next generation of vehicle </a:t>
            </a:r>
            <a:r>
              <a:rPr lang="en-US" sz="1400" kern="0" err="1">
                <a:solidFill>
                  <a:srgbClr val="000000"/>
                </a:solidFill>
                <a:cs typeface="Arial"/>
                <a:sym typeface="Arial"/>
              </a:rPr>
              <a:t>lightweighting</a:t>
            </a:r>
            <a:r>
              <a:rPr lang="en-US" sz="1400" kern="0">
                <a:solidFill>
                  <a:srgbClr val="000000"/>
                </a:solidFill>
                <a:cs typeface="Arial"/>
                <a:sym typeface="Arial"/>
              </a:rPr>
              <a:t>. The technology is key to developing efficient and lighter alternative propulsion and zero emission vehicle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20411" y="2935209"/>
            <a:ext cx="7956000"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Using generative design algorithms to optimize parts and reduce weight in their vehicles. The algorithm generates several design alternatives, which are then evaluated and selected based on performance under simulated real-world condition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33080" y="1210385"/>
            <a:ext cx="1216568" cy="30777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20122" y="2707018"/>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Automotive</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192644" y="1710416"/>
            <a:ext cx="1565420"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General Motors</a:t>
            </a:r>
            <a:endParaRPr lang="en-US" sz="1400" b="1" kern="0">
              <a:solidFill>
                <a:srgbClr val="000000"/>
              </a:solidFill>
              <a:cs typeface="Arial"/>
              <a:sym typeface="Arial"/>
            </a:endParaRPr>
          </a:p>
        </p:txBody>
      </p:sp>
      <p:sp>
        <p:nvSpPr>
          <p:cNvPr id="2" name="TextBox 1">
            <a:extLst>
              <a:ext uri="{FF2B5EF4-FFF2-40B4-BE49-F238E27FC236}">
                <a16:creationId xmlns:a16="http://schemas.microsoft.com/office/drawing/2014/main" id="{A9A1176E-2350-9C69-FF3C-C8723FF5B0AD}"/>
              </a:ext>
            </a:extLst>
          </p:cNvPr>
          <p:cNvSpPr txBox="1"/>
          <p:nvPr/>
        </p:nvSpPr>
        <p:spPr>
          <a:xfrm>
            <a:off x="3911182" y="6129706"/>
            <a:ext cx="6629356" cy="784830"/>
          </a:xfrm>
          <a:prstGeom prst="rect">
            <a:avLst/>
          </a:prstGeom>
          <a:noFill/>
        </p:spPr>
        <p:txBody>
          <a:bodyPr wrap="square" lIns="0" rIns="0" rtlCol="0">
            <a:spAutoFit/>
          </a:bodyPr>
          <a:lstStyle/>
          <a:p>
            <a:pPr defTabSz="914400">
              <a:lnSpc>
                <a:spcPct val="90000"/>
              </a:lnSpc>
              <a:defRPr/>
            </a:pPr>
            <a:r>
              <a:rPr lang="en-US" sz="1000" b="1"/>
              <a:t>Vendor Source</a:t>
            </a:r>
            <a:r>
              <a:rPr lang="en-US" sz="1000"/>
              <a:t>: </a:t>
            </a:r>
            <a:r>
              <a:rPr lang="en-US" sz="1000">
                <a:hlinkClick r:id="rId6"/>
              </a:rPr>
              <a:t>https://news.gm.com/newsroom.detail.html/Pages/news/us/en/2018/may/0503-lightweighting.html</a:t>
            </a:r>
            <a:r>
              <a:rPr lang="en-US" sz="1000"/>
              <a:t> </a:t>
            </a:r>
          </a:p>
          <a:p>
            <a:pPr defTabSz="914400">
              <a:lnSpc>
                <a:spcPct val="90000"/>
              </a:lnSpc>
              <a:defRPr/>
            </a:pPr>
            <a:r>
              <a:rPr lang="en-US" sz="1000" b="1"/>
              <a:t>Client/Other Source</a:t>
            </a:r>
            <a:r>
              <a:rPr lang="en-US" sz="1000"/>
              <a:t>: </a:t>
            </a:r>
            <a:r>
              <a:rPr lang="en-US" sz="1000">
                <a:hlinkClick r:id="rId7"/>
              </a:rPr>
              <a:t>https://www.forbes.com/sites/bernardmarr/2023/07/25/the-future-of-manufacturing-generative-ai-and-beyond/?sh=6d11b77a51fa</a:t>
            </a:r>
            <a:r>
              <a:rPr lang="en-US" sz="1000"/>
              <a:t> </a:t>
            </a:r>
          </a:p>
          <a:p>
            <a:pPr defTabSz="914400">
              <a:lnSpc>
                <a:spcPct val="90000"/>
              </a:lnSpc>
              <a:defRPr/>
            </a:pPr>
            <a:r>
              <a:rPr lang="en-US" sz="1000" b="1"/>
              <a:t>Publish Date: 7/2023</a:t>
            </a:r>
          </a:p>
          <a:p>
            <a:pPr defTabSz="914400">
              <a:lnSpc>
                <a:spcPct val="90000"/>
              </a:lnSpc>
              <a:defRPr/>
            </a:pPr>
            <a:endParaRPr lang="en-US" sz="1000"/>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22353" y="5758220"/>
            <a:ext cx="254097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fficiency, Qual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9788"/>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	</a:t>
            </a:r>
          </a:p>
        </p:txBody>
      </p:sp>
      <p:sp>
        <p:nvSpPr>
          <p:cNvPr id="3" name="TextBox 2">
            <a:extLst>
              <a:ext uri="{FF2B5EF4-FFF2-40B4-BE49-F238E27FC236}">
                <a16:creationId xmlns:a16="http://schemas.microsoft.com/office/drawing/2014/main" id="{D6A2D854-E8A9-2343-6EB5-08DC1C055919}"/>
              </a:ext>
            </a:extLst>
          </p:cNvPr>
          <p:cNvSpPr txBox="1"/>
          <p:nvPr/>
        </p:nvSpPr>
        <p:spPr>
          <a:xfrm>
            <a:off x="4043439" y="4897687"/>
            <a:ext cx="7946886" cy="954107"/>
          </a:xfrm>
          <a:prstGeom prst="rect">
            <a:avLst/>
          </a:prstGeom>
          <a:noFill/>
        </p:spPr>
        <p:txBody>
          <a:bodyPr wrap="square" rtlCol="0">
            <a:spAutoFit/>
          </a:bodyPr>
          <a:lstStyle/>
          <a:p>
            <a:pPr algn="just" defTabSz="914400">
              <a:buClr>
                <a:srgbClr val="000000"/>
              </a:buClr>
            </a:pPr>
            <a:r>
              <a:rPr lang="en-US" sz="1400" kern="0">
                <a:solidFill>
                  <a:srgbClr val="101010"/>
                </a:solidFill>
                <a:cs typeface="Arial"/>
                <a:sym typeface="Arial"/>
              </a:rPr>
              <a:t>This results in components that are lighter, stronger, and often more cost-effective.</a:t>
            </a:r>
            <a:r>
              <a:rPr lang="en-US" sz="1400" b="0" i="0">
                <a:solidFill>
                  <a:srgbClr val="101010"/>
                </a:solidFill>
                <a:effectLst/>
              </a:rPr>
              <a:t> The new design technology provides significantly more vehicle mass reduction and parts consolidation  opportunities that cannot be achieved through traditional design optimization methods.</a:t>
            </a:r>
            <a:r>
              <a:rPr lang="en-US" sz="1400" kern="0">
                <a:solidFill>
                  <a:srgbClr val="101010"/>
                </a:solidFill>
                <a:cs typeface="Arial"/>
                <a:sym typeface="Arial"/>
              </a:rPr>
              <a:t> </a:t>
            </a:r>
          </a:p>
        </p:txBody>
      </p:sp>
      <p:sp>
        <p:nvSpPr>
          <p:cNvPr id="12" name="TextBox 11">
            <a:extLst>
              <a:ext uri="{FF2B5EF4-FFF2-40B4-BE49-F238E27FC236}">
                <a16:creationId xmlns:a16="http://schemas.microsoft.com/office/drawing/2014/main" id="{8B9EE40D-E38A-4D84-E254-A59E574D0582}"/>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4" name="TextBox 13">
            <a:extLst>
              <a:ext uri="{FF2B5EF4-FFF2-40B4-BE49-F238E27FC236}">
                <a16:creationId xmlns:a16="http://schemas.microsoft.com/office/drawing/2014/main" id="{9C3CE429-0CBC-A72A-9421-DF7F066ED247}"/>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Product Desig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5" name="TextBox 14">
            <a:extLst>
              <a:ext uri="{FF2B5EF4-FFF2-40B4-BE49-F238E27FC236}">
                <a16:creationId xmlns:a16="http://schemas.microsoft.com/office/drawing/2014/main" id="{DF251291-F77A-9F0D-83A4-8E896A8AC5A7}"/>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93</a:t>
            </a:r>
          </a:p>
        </p:txBody>
      </p:sp>
    </p:spTree>
    <p:extLst>
      <p:ext uri="{BB962C8B-B14F-4D97-AF65-F5344CB8AC3E}">
        <p14:creationId xmlns:p14="http://schemas.microsoft.com/office/powerpoint/2010/main" val="37782631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7-Eleven uses a custom solution to design new products more quickly​</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GenAI applied to simulation, discovery and content generation for selecting and developing products for sale that align with customer needs. It uses collected data to generate new product ideas in which it thinks consumers will be interested.​</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43439" y="2993583"/>
            <a:ext cx="7911128"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A cloud-based IT system which combines GenAI solutions from OpenAI, Stability AI, and Google to process customer data, product manufacturer data, and social media data. The AI then uses the collected data to generate new product ideas it thinks consumers will be eager to buy.​</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is new generative AI solution is already being used in one department of the company and it has apparently reduced the number of internal meetings by 80%. ​</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Retail</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7F305365-29CA-C7B5-6E3F-210DC60ACF6E}"/>
              </a:ext>
            </a:extLst>
          </p:cNvPr>
          <p:cNvSpPr txBox="1"/>
          <p:nvPr/>
        </p:nvSpPr>
        <p:spPr>
          <a:xfrm>
            <a:off x="3911182" y="6129706"/>
            <a:ext cx="6554541" cy="784830"/>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www.convenience.org/Media/Daily/2023/November/7/1-7Eleven-Japan-AI-New-Products_Tech</a:t>
            </a:r>
            <a:endParaRPr lang="en-US" sz="1000"/>
          </a:p>
          <a:p>
            <a:pPr defTabSz="914400">
              <a:lnSpc>
                <a:spcPct val="90000"/>
              </a:lnSpc>
              <a:defRPr/>
            </a:pPr>
            <a:r>
              <a:rPr lang="en-US" sz="1000" b="1"/>
              <a:t>Publish Date: 11/2023</a:t>
            </a:r>
          </a:p>
          <a:p>
            <a:pPr defTabSz="914400">
              <a:lnSpc>
                <a:spcPct val="90000"/>
              </a:lnSpc>
              <a:defRPr/>
            </a:pPr>
            <a:endParaRPr lang="en-US" sz="1000"/>
          </a:p>
        </p:txBody>
      </p:sp>
      <p:sp>
        <p:nvSpPr>
          <p:cNvPr id="2" name="TextBox 1">
            <a:extLst>
              <a:ext uri="{FF2B5EF4-FFF2-40B4-BE49-F238E27FC236}">
                <a16:creationId xmlns:a16="http://schemas.microsoft.com/office/drawing/2014/main" id="{8C275B1D-3497-1C2D-A937-151608D42AD5}"/>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5" name="TextBox 14">
            <a:extLst>
              <a:ext uri="{FF2B5EF4-FFF2-40B4-BE49-F238E27FC236}">
                <a16:creationId xmlns:a16="http://schemas.microsoft.com/office/drawing/2014/main" id="{E8A83B76-EA8D-C113-029A-573566691D5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60AFD7A3-3381-BC80-1030-669AFE6D746E}"/>
              </a:ext>
            </a:extLst>
          </p:cNvPr>
          <p:cNvSpPr txBox="1"/>
          <p:nvPr/>
        </p:nvSpPr>
        <p:spPr>
          <a:xfrm>
            <a:off x="2229932" y="2753118"/>
            <a:ext cx="1681249"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Product Desig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485B9F8-9806-D2FC-8CAF-164905405243}"/>
              </a:ext>
            </a:extLst>
          </p:cNvPr>
          <p:cNvSpPr txBox="1"/>
          <p:nvPr/>
        </p:nvSpPr>
        <p:spPr>
          <a:xfrm>
            <a:off x="8569828" y="5964515"/>
            <a:ext cx="1779333" cy="338554"/>
          </a:xfrm>
          <a:prstGeom prst="rect">
            <a:avLst/>
          </a:prstGeom>
          <a:noFill/>
        </p:spPr>
        <p:txBody>
          <a:bodyPr wrap="none" lIns="0" rIns="0" rtlCol="0">
            <a:spAutoFit/>
          </a:bodyPr>
          <a:lstStyle/>
          <a:p>
            <a:pPr algn="l">
              <a:spcBef>
                <a:spcPts val="600"/>
              </a:spcBef>
            </a:pPr>
            <a:r>
              <a:rPr lang="en-US" sz="1600"/>
              <a:t>Case Study ID: 104</a:t>
            </a:r>
          </a:p>
        </p:txBody>
      </p:sp>
      <p:sp>
        <p:nvSpPr>
          <p:cNvPr id="19" name="TextBox 18">
            <a:extLst>
              <a:ext uri="{FF2B5EF4-FFF2-40B4-BE49-F238E27FC236}">
                <a16:creationId xmlns:a16="http://schemas.microsoft.com/office/drawing/2014/main" id="{908584C9-8053-BAF4-2837-F31222763A77}"/>
              </a:ext>
            </a:extLst>
          </p:cNvPr>
          <p:cNvSpPr txBox="1"/>
          <p:nvPr/>
        </p:nvSpPr>
        <p:spPr>
          <a:xfrm>
            <a:off x="1967430" y="1761189"/>
            <a:ext cx="1840353"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7-Eleven</a:t>
            </a:r>
          </a:p>
        </p:txBody>
      </p:sp>
      <p:sp>
        <p:nvSpPr>
          <p:cNvPr id="20" name="TextBox 19">
            <a:extLst>
              <a:ext uri="{FF2B5EF4-FFF2-40B4-BE49-F238E27FC236}">
                <a16:creationId xmlns:a16="http://schemas.microsoft.com/office/drawing/2014/main" id="{8BC02F85-542C-62AC-AE9B-960CD2FC3FDC}"/>
              </a:ext>
            </a:extLst>
          </p:cNvPr>
          <p:cNvSpPr txBox="1"/>
          <p:nvPr/>
        </p:nvSpPr>
        <p:spPr>
          <a:xfrm>
            <a:off x="0" y="1748913"/>
            <a:ext cx="2045740"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OpenAI, Stability AI, Google</a:t>
            </a:r>
            <a:r>
              <a:rPr lang="en-US" sz="1100" b="1" kern="0">
                <a:solidFill>
                  <a:srgbClr val="000000"/>
                </a:solidFill>
                <a:cs typeface="Arial"/>
                <a:sym typeface="Arial Black"/>
              </a:rPr>
              <a:t>​</a:t>
            </a:r>
            <a:endParaRPr lang="en-US" sz="1100" b="1" kern="0">
              <a:solidFill>
                <a:srgbClr val="000000"/>
              </a:solidFill>
              <a:cs typeface="Arial"/>
              <a:sym typeface="Arial"/>
            </a:endParaRPr>
          </a:p>
        </p:txBody>
      </p:sp>
      <p:sp>
        <p:nvSpPr>
          <p:cNvPr id="8" name="Rectangle 7">
            <a:extLst>
              <a:ext uri="{FF2B5EF4-FFF2-40B4-BE49-F238E27FC236}">
                <a16:creationId xmlns:a16="http://schemas.microsoft.com/office/drawing/2014/main" id="{A68D5E23-72DC-7317-3E70-7D71B7BA80BC}"/>
              </a:ext>
            </a:extLst>
          </p:cNvPr>
          <p:cNvSpPr/>
          <p:nvPr/>
        </p:nvSpPr>
        <p:spPr>
          <a:xfrm>
            <a:off x="334496" y="5776431"/>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fficiency, Effectiveness, Innovation</a:t>
            </a:r>
          </a:p>
        </p:txBody>
      </p:sp>
    </p:spTree>
    <p:extLst>
      <p:ext uri="{BB962C8B-B14F-4D97-AF65-F5344CB8AC3E}">
        <p14:creationId xmlns:p14="http://schemas.microsoft.com/office/powerpoint/2010/main" val="31753678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2800" b="1" kern="0">
                <a:solidFill>
                  <a:srgbClr val="172A54"/>
                </a:solidFill>
                <a:latin typeface="Arial Black"/>
                <a:ea typeface="Arial Black"/>
                <a:cs typeface="Arial Black"/>
                <a:sym typeface="Arial Black"/>
              </a:rPr>
              <a:t>Mitsui Chemicals uses LLMs and robotics to gain major productivity improvements in its materials experimentation</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Materials science is a human-resource-intensive field that relies heavily on practitioner knowledge and experience. Much of this practitioner knowledge is intuitive, based on years of experience, and is thus hard to put into words that could help less experienced scientists. As a result, discovering new, commercially viable materials is laborious and unpredictable.</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43439" y="2993583"/>
            <a:ext cx="7911128" cy="1600438"/>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Mitsui Chemicals used GenAI to create a readily searchable catalog of existing materials. This entailed collecting the right data, parsing the data using a large language model (LLM) to create an ontology of materials, and creating a network graph of connections among the existing materials. The company uses a combination of this GenAI model, IBM Watson for text mining, and largely autonomous lab robotics to create new combinations of elements that can be commercially viable materials. It has developed an automated way to test these new combinations for commercial viability.</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19680" y="4889555"/>
            <a:ext cx="7954975" cy="1092607"/>
          </a:xfrm>
          <a:prstGeom prst="rect">
            <a:avLst/>
          </a:prstGeom>
          <a:noFill/>
        </p:spPr>
        <p:txBody>
          <a:bodyPr wrap="square" rtlCol="0">
            <a:spAutoFit/>
          </a:bodyPr>
          <a:lstStyle/>
          <a:p>
            <a:pPr algn="just" defTabSz="914400">
              <a:buClr>
                <a:srgbClr val="000000"/>
              </a:buClr>
            </a:pPr>
            <a:r>
              <a:rPr lang="en-US" sz="1300" kern="0">
                <a:solidFill>
                  <a:srgbClr val="000000"/>
                </a:solidFill>
                <a:cs typeface="Arial"/>
                <a:sym typeface="Arial"/>
              </a:rPr>
              <a:t>Mitsui Chemicals has seen a tenfold increase in the speed of its materials science experiments. The company has doubled its pace of new materials discovery, with 160 additional commercially viable materials unearthed in the initiative’s first year. This has opened up new markets for materials and new subscription-based business models. The materials business has expanded from B2B to now include B2C and B2B2P (business-to-business-to-person).</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Chemical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IN" sz="1400">
                <a:solidFill>
                  <a:schemeClr val="tx1"/>
                </a:solidFill>
              </a:rPr>
              <a:t>Medium</a:t>
            </a: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400">
                <a:solidFill>
                  <a:schemeClr val="tx1"/>
                </a:solidFill>
              </a:rPr>
              <a:t>Game Changing: Industry Transformation</a:t>
            </a:r>
            <a:endParaRPr lang="en-US">
              <a:solidFill>
                <a:schemeClr val="tx1"/>
              </a:solidFill>
            </a:endParaRP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IN" sz="1400">
                <a:solidFill>
                  <a:schemeClr val="tx1"/>
                </a:solidFill>
                <a:cs typeface="Arial"/>
              </a:rPr>
              <a:t>Upend</a:t>
            </a:r>
          </a:p>
        </p:txBody>
      </p:sp>
      <p:sp>
        <p:nvSpPr>
          <p:cNvPr id="3" name="TextBox 2">
            <a:extLst>
              <a:ext uri="{FF2B5EF4-FFF2-40B4-BE49-F238E27FC236}">
                <a16:creationId xmlns:a16="http://schemas.microsoft.com/office/drawing/2014/main" id="{7F305365-29CA-C7B5-6E3F-210DC60ACF6E}"/>
              </a:ext>
            </a:extLst>
          </p:cNvPr>
          <p:cNvSpPr txBox="1"/>
          <p:nvPr/>
        </p:nvSpPr>
        <p:spPr>
          <a:xfrm>
            <a:off x="3911182" y="6129706"/>
            <a:ext cx="6554541" cy="646331"/>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Gartner</a:t>
            </a:r>
          </a:p>
          <a:p>
            <a:pPr defTabSz="914400">
              <a:lnSpc>
                <a:spcPct val="90000"/>
              </a:lnSpc>
              <a:defRPr/>
            </a:pPr>
            <a:r>
              <a:rPr lang="en-US" sz="1000" b="1"/>
              <a:t>Publish Date: 12/2023</a:t>
            </a:r>
          </a:p>
          <a:p>
            <a:pPr defTabSz="914400">
              <a:lnSpc>
                <a:spcPct val="90000"/>
              </a:lnSpc>
              <a:defRPr/>
            </a:pPr>
            <a:endParaRPr lang="en-US" sz="1000"/>
          </a:p>
        </p:txBody>
      </p:sp>
      <p:sp>
        <p:nvSpPr>
          <p:cNvPr id="2" name="TextBox 1">
            <a:extLst>
              <a:ext uri="{FF2B5EF4-FFF2-40B4-BE49-F238E27FC236}">
                <a16:creationId xmlns:a16="http://schemas.microsoft.com/office/drawing/2014/main" id="{8C275B1D-3497-1C2D-A937-151608D42AD5}"/>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5" name="TextBox 14">
            <a:extLst>
              <a:ext uri="{FF2B5EF4-FFF2-40B4-BE49-F238E27FC236}">
                <a16:creationId xmlns:a16="http://schemas.microsoft.com/office/drawing/2014/main" id="{E8A83B76-EA8D-C113-029A-573566691D5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60AFD7A3-3381-BC80-1030-669AFE6D746E}"/>
              </a:ext>
            </a:extLst>
          </p:cNvPr>
          <p:cNvSpPr txBox="1"/>
          <p:nvPr/>
        </p:nvSpPr>
        <p:spPr>
          <a:xfrm>
            <a:off x="2229932" y="2753118"/>
            <a:ext cx="1681249"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Product Desig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485B9F8-9806-D2FC-8CAF-164905405243}"/>
              </a:ext>
            </a:extLst>
          </p:cNvPr>
          <p:cNvSpPr txBox="1"/>
          <p:nvPr/>
        </p:nvSpPr>
        <p:spPr>
          <a:xfrm>
            <a:off x="8569828" y="5964515"/>
            <a:ext cx="1779333" cy="338554"/>
          </a:xfrm>
          <a:prstGeom prst="rect">
            <a:avLst/>
          </a:prstGeom>
          <a:noFill/>
        </p:spPr>
        <p:txBody>
          <a:bodyPr wrap="none" lIns="0" rIns="0" rtlCol="0">
            <a:spAutoFit/>
          </a:bodyPr>
          <a:lstStyle/>
          <a:p>
            <a:pPr algn="l">
              <a:spcBef>
                <a:spcPts val="600"/>
              </a:spcBef>
            </a:pPr>
            <a:r>
              <a:rPr lang="en-US" sz="1600"/>
              <a:t>Case Study ID: 109</a:t>
            </a:r>
          </a:p>
        </p:txBody>
      </p:sp>
      <p:sp>
        <p:nvSpPr>
          <p:cNvPr id="19" name="TextBox 18">
            <a:extLst>
              <a:ext uri="{FF2B5EF4-FFF2-40B4-BE49-F238E27FC236}">
                <a16:creationId xmlns:a16="http://schemas.microsoft.com/office/drawing/2014/main" id="{908584C9-8053-BAF4-2837-F31222763A77}"/>
              </a:ext>
            </a:extLst>
          </p:cNvPr>
          <p:cNvSpPr txBox="1"/>
          <p:nvPr/>
        </p:nvSpPr>
        <p:spPr>
          <a:xfrm>
            <a:off x="2040328" y="1747818"/>
            <a:ext cx="1840353"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Mitsui Chemicals</a:t>
            </a:r>
          </a:p>
        </p:txBody>
      </p:sp>
      <p:sp>
        <p:nvSpPr>
          <p:cNvPr id="20" name="TextBox 19">
            <a:extLst>
              <a:ext uri="{FF2B5EF4-FFF2-40B4-BE49-F238E27FC236}">
                <a16:creationId xmlns:a16="http://schemas.microsoft.com/office/drawing/2014/main" id="{8BC02F85-542C-62AC-AE9B-960CD2FC3FDC}"/>
              </a:ext>
            </a:extLst>
          </p:cNvPr>
          <p:cNvSpPr txBox="1"/>
          <p:nvPr/>
        </p:nvSpPr>
        <p:spPr>
          <a:xfrm>
            <a:off x="31664" y="1751617"/>
            <a:ext cx="1630828"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IBM Watson</a:t>
            </a:r>
            <a:endParaRPr lang="en-US" sz="1400" b="1" kern="0">
              <a:solidFill>
                <a:srgbClr val="000000"/>
              </a:solidFill>
              <a:cs typeface="Arial"/>
              <a:sym typeface="Arial"/>
            </a:endParaRPr>
          </a:p>
        </p:txBody>
      </p:sp>
      <p:sp>
        <p:nvSpPr>
          <p:cNvPr id="8" name="Rectangle 7">
            <a:extLst>
              <a:ext uri="{FF2B5EF4-FFF2-40B4-BE49-F238E27FC236}">
                <a16:creationId xmlns:a16="http://schemas.microsoft.com/office/drawing/2014/main" id="{A68D5E23-72DC-7317-3E70-7D71B7BA80BC}"/>
              </a:ext>
            </a:extLst>
          </p:cNvPr>
          <p:cNvSpPr/>
          <p:nvPr/>
        </p:nvSpPr>
        <p:spPr>
          <a:xfrm>
            <a:off x="334496" y="5776431"/>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novation, New Products</a:t>
            </a:r>
            <a:endParaRPr lang="en-IN" sz="1400">
              <a:solidFill>
                <a:schemeClr val="tx1"/>
              </a:solidFill>
            </a:endParaRPr>
          </a:p>
        </p:txBody>
      </p:sp>
    </p:spTree>
    <p:extLst>
      <p:ext uri="{BB962C8B-B14F-4D97-AF65-F5344CB8AC3E}">
        <p14:creationId xmlns:p14="http://schemas.microsoft.com/office/powerpoint/2010/main" val="31918787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C0C42B-4ED3-4BAB-83AB-9176721DE0BA}"/>
              </a:ext>
            </a:extLst>
          </p:cNvPr>
          <p:cNvSpPr>
            <a:spLocks noGrp="1"/>
          </p:cNvSpPr>
          <p:nvPr>
            <p:ph type="title"/>
          </p:nvPr>
        </p:nvSpPr>
        <p:spPr/>
        <p:txBody>
          <a:bodyPr/>
          <a:lstStyle/>
          <a:p>
            <a:r>
              <a:rPr lang="en-US"/>
              <a:t>Synthetic Data</a:t>
            </a:r>
          </a:p>
        </p:txBody>
      </p:sp>
      <p:sp>
        <p:nvSpPr>
          <p:cNvPr id="4" name="TextBox 3">
            <a:extLst>
              <a:ext uri="{FF2B5EF4-FFF2-40B4-BE49-F238E27FC236}">
                <a16:creationId xmlns:a16="http://schemas.microsoft.com/office/drawing/2014/main" id="{AAC427FD-1726-44D4-6430-793148B1E07C}"/>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7530961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D3A18-C9D4-EF53-642D-E377414071AA}"/>
              </a:ext>
            </a:extLst>
          </p:cNvPr>
          <p:cNvSpPr>
            <a:spLocks noGrp="1"/>
          </p:cNvSpPr>
          <p:nvPr>
            <p:ph type="title"/>
          </p:nvPr>
        </p:nvSpPr>
        <p:spPr/>
        <p:txBody>
          <a:bodyPr/>
          <a:lstStyle/>
          <a:p>
            <a:r>
              <a:rPr lang="en-US"/>
              <a:t>Coding Assistants</a:t>
            </a:r>
          </a:p>
        </p:txBody>
      </p:sp>
      <p:sp>
        <p:nvSpPr>
          <p:cNvPr id="4" name="TextBox 3">
            <a:extLst>
              <a:ext uri="{FF2B5EF4-FFF2-40B4-BE49-F238E27FC236}">
                <a16:creationId xmlns:a16="http://schemas.microsoft.com/office/drawing/2014/main" id="{54216443-F0CB-A360-1B61-7FFAB171EDCA}"/>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5568857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SIX generates realistic and accurate synthetic data</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SIX, a financial company wanted to generate realistic and accurate synthetic data that does not lead to  the inability to deliver data-driven insights on time and lost opportunities for the company </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3" y="2955949"/>
            <a:ext cx="7911128" cy="1600438"/>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Used to generate synthetic data with almost identical statistical properties as the original data but without containing any Personally Identifiable Information</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runcated the original dataset to 5k rows. The generated differentially private synthetic data consisted of 5k rows and 11 column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Utility evaluation - comparing the models built on the original and synthetic data. The goal was to get a value score closer to a real dataset</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Privacy Evaluation – ensuring there is no similar data in the synthetic file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SIX Leveraged Generative AI, Differential Privacy, and Confidential Computing to protect sensitive financial data – Improved Data Compliance</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SIX was able to run predictive models, testing, and other analytical tasks reducing overall time to data -- Reduce the risk of fraud and lending error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defTabSz="914400">
              <a:buClr>
                <a:srgbClr val="000000"/>
              </a:buClr>
              <a:defRPr/>
            </a:pPr>
            <a:r>
              <a:rPr lang="en-US" sz="1400" kern="0">
                <a:solidFill>
                  <a:srgbClr val="000000"/>
                </a:solidFill>
                <a:cs typeface="Arial"/>
                <a:sym typeface="Arial"/>
              </a:rPr>
              <a:t>Banking and Finance</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40439" y="1764600"/>
            <a:ext cx="1273023"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Syntheticus</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	</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3262316" cy="507831"/>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nsure Data Compliance, Fast Turnaround time, Increased Accurac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B2169F03-07A0-728D-749F-84840F53AB4E}"/>
              </a:ext>
            </a:extLst>
          </p:cNvPr>
          <p:cNvSpPr txBox="1"/>
          <p:nvPr/>
        </p:nvSpPr>
        <p:spPr>
          <a:xfrm>
            <a:off x="3869618" y="6052720"/>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26148194.fs1.hubspotusercontent-eu1.net/hubfs/26148194/Syntheticus_Banking%20and%20Finance%20Case%20Study_SIX.pdf</a:t>
            </a:r>
            <a:endParaRPr lang="en-US" sz="1000"/>
          </a:p>
          <a:p>
            <a:pPr defTabSz="914400">
              <a:lnSpc>
                <a:spcPct val="90000"/>
              </a:lnSpc>
              <a:defRPr/>
            </a:pPr>
            <a:r>
              <a:rPr lang="en-US" sz="1000" b="1"/>
              <a:t>Client/Other Source: </a:t>
            </a:r>
          </a:p>
          <a:p>
            <a:pPr defTabSz="914400">
              <a:lnSpc>
                <a:spcPct val="90000"/>
              </a:lnSpc>
              <a:defRPr/>
            </a:pPr>
            <a:r>
              <a:rPr lang="en-US" sz="1000" b="1"/>
              <a:t>Publish Date: 3/2023</a:t>
            </a:r>
          </a:p>
          <a:p>
            <a:pPr defTabSz="914400">
              <a:lnSpc>
                <a:spcPct val="90000"/>
              </a:lnSpc>
              <a:defRPr/>
            </a:pPr>
            <a:r>
              <a:rPr lang="en-US" sz="1000"/>
              <a:t> </a:t>
            </a:r>
          </a:p>
        </p:txBody>
      </p:sp>
      <p:sp>
        <p:nvSpPr>
          <p:cNvPr id="2" name="TextBox 1">
            <a:extLst>
              <a:ext uri="{FF2B5EF4-FFF2-40B4-BE49-F238E27FC236}">
                <a16:creationId xmlns:a16="http://schemas.microsoft.com/office/drawing/2014/main" id="{BDF46D4F-A710-8D67-2AB8-D7F310C3A80F}"/>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AB97C5B5-72BE-0D67-F5B9-A4AA7E55B95A}"/>
              </a:ext>
            </a:extLst>
          </p:cNvPr>
          <p:cNvSpPr txBox="1"/>
          <p:nvPr/>
        </p:nvSpPr>
        <p:spPr>
          <a:xfrm>
            <a:off x="2168148" y="1760083"/>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SIX</a:t>
            </a:r>
          </a:p>
        </p:txBody>
      </p:sp>
      <p:sp>
        <p:nvSpPr>
          <p:cNvPr id="15" name="TextBox 14">
            <a:extLst>
              <a:ext uri="{FF2B5EF4-FFF2-40B4-BE49-F238E27FC236}">
                <a16:creationId xmlns:a16="http://schemas.microsoft.com/office/drawing/2014/main" id="{DBDFE3F0-4797-37BF-67A0-950ACCE67644}"/>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1B8E6E7B-5961-7C35-C6E1-72E2C3CF3975}"/>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Synthetic Data</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D834B3AA-7708-7268-24CB-40BDA531ECDE}"/>
              </a:ext>
            </a:extLst>
          </p:cNvPr>
          <p:cNvSpPr txBox="1"/>
          <p:nvPr/>
        </p:nvSpPr>
        <p:spPr>
          <a:xfrm>
            <a:off x="8569828" y="5964515"/>
            <a:ext cx="1551707" cy="338554"/>
          </a:xfrm>
          <a:prstGeom prst="rect">
            <a:avLst/>
          </a:prstGeom>
          <a:noFill/>
        </p:spPr>
        <p:txBody>
          <a:bodyPr wrap="none" lIns="0" rIns="0" rtlCol="0">
            <a:spAutoFit/>
          </a:bodyPr>
          <a:lstStyle/>
          <a:p>
            <a:pPr algn="l">
              <a:spcBef>
                <a:spcPts val="600"/>
              </a:spcBef>
            </a:pPr>
            <a:r>
              <a:rPr lang="en-US" sz="1600"/>
              <a:t>Case Study ID: 4</a:t>
            </a:r>
          </a:p>
        </p:txBody>
      </p:sp>
    </p:spTree>
    <p:extLst>
      <p:ext uri="{BB962C8B-B14F-4D97-AF65-F5344CB8AC3E}">
        <p14:creationId xmlns:p14="http://schemas.microsoft.com/office/powerpoint/2010/main" val="3207002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257E0-F739-DD58-C0B7-649C78D50C4E}"/>
              </a:ext>
            </a:extLst>
          </p:cNvPr>
          <p:cNvSpPr>
            <a:spLocks noGrp="1"/>
          </p:cNvSpPr>
          <p:nvPr>
            <p:ph type="title"/>
          </p:nvPr>
        </p:nvSpPr>
        <p:spPr/>
        <p:txBody>
          <a:bodyPr/>
          <a:lstStyle/>
          <a:p>
            <a:r>
              <a:rPr lang="en-US"/>
              <a:t>Video Content Generation</a:t>
            </a:r>
          </a:p>
        </p:txBody>
      </p:sp>
      <p:sp>
        <p:nvSpPr>
          <p:cNvPr id="4" name="TextBox 3">
            <a:extLst>
              <a:ext uri="{FF2B5EF4-FFF2-40B4-BE49-F238E27FC236}">
                <a16:creationId xmlns:a16="http://schemas.microsoft.com/office/drawing/2014/main" id="{37E3B6A9-366C-EEF5-C296-E4386A9D4A67}"/>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18756552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Used GenAI to develop a virtual facilitator to guide learners through a training session </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team at BSH, manufacturer of home appliances, didn't want to rely on boring PDFs or slides to click through. They wanted to make expertise available regardless of time and space, and the digitization of e-learning was the choice. Video was the format of choice, but it came with a number of limitations: Cost, Flexibility and Translation</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Using Synthesia, the Team developed a virtual facilitator to guide learners through a training session. Created bite-size scripts, inserted them into Synthesia's script box, chose one of 80+ Avatars, added image, screen recording, etc.</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Reach: Over 30,000 views of the web-based training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Engagement: Over 30% increase in engagement of e-learning</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Cost savings: Over 70% savings in external video production</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Appliance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1207" y="1728445"/>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Synthesia</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5"/>
            <a:ext cx="2520000" cy="523641"/>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Cost Reduction, Productivity, Customer Engagement</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D759FD12-2F42-8AF2-E3E3-DE4DF3A951C0}"/>
              </a:ext>
            </a:extLst>
          </p:cNvPr>
          <p:cNvSpPr txBox="1"/>
          <p:nvPr/>
        </p:nvSpPr>
        <p:spPr>
          <a:xfrm>
            <a:off x="3869618" y="6060349"/>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www.synthesia.io/case-studies/bosch</a:t>
            </a:r>
            <a:r>
              <a:rPr lang="en-US" sz="1000"/>
              <a:t> </a:t>
            </a:r>
          </a:p>
          <a:p>
            <a:pPr defTabSz="914400">
              <a:lnSpc>
                <a:spcPct val="90000"/>
              </a:lnSpc>
              <a:defRPr/>
            </a:pPr>
            <a:r>
              <a:rPr lang="en-US" sz="1000" b="1"/>
              <a:t>Client/Other Source</a:t>
            </a:r>
            <a:r>
              <a:rPr lang="en-US" sz="1000"/>
              <a:t>: </a:t>
            </a:r>
          </a:p>
          <a:p>
            <a:pPr defTabSz="914400">
              <a:lnSpc>
                <a:spcPct val="90000"/>
              </a:lnSpc>
              <a:defRPr/>
            </a:pPr>
            <a:r>
              <a:rPr lang="en-US" sz="1000" b="1"/>
              <a:t>Publish Date: 11/2021</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D97C710C-1A9F-9816-33A7-091227EF9287}"/>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7FAAF45F-1BF5-AC64-78BD-5577D3579F50}"/>
              </a:ext>
            </a:extLst>
          </p:cNvPr>
          <p:cNvSpPr txBox="1"/>
          <p:nvPr/>
        </p:nvSpPr>
        <p:spPr>
          <a:xfrm>
            <a:off x="2228661" y="1726290"/>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BSH</a:t>
            </a:r>
          </a:p>
        </p:txBody>
      </p:sp>
      <p:sp>
        <p:nvSpPr>
          <p:cNvPr id="15" name="TextBox 14">
            <a:extLst>
              <a:ext uri="{FF2B5EF4-FFF2-40B4-BE49-F238E27FC236}">
                <a16:creationId xmlns:a16="http://schemas.microsoft.com/office/drawing/2014/main" id="{3833EFA3-723E-A3B4-EBF3-EB252D468E51}"/>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C7CB0E77-41E3-BC1F-EDA0-408F57E05FAA}"/>
              </a:ext>
            </a:extLst>
          </p:cNvPr>
          <p:cNvSpPr txBox="1"/>
          <p:nvPr/>
        </p:nvSpPr>
        <p:spPr>
          <a:xfrm>
            <a:off x="2260291" y="2753118"/>
            <a:ext cx="178314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Video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F8FE8CDE-F9D4-F17A-49F5-93C342B23D0C}"/>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30</a:t>
            </a:r>
          </a:p>
        </p:txBody>
      </p:sp>
    </p:spTree>
    <p:extLst>
      <p:ext uri="{BB962C8B-B14F-4D97-AF65-F5344CB8AC3E}">
        <p14:creationId xmlns:p14="http://schemas.microsoft.com/office/powerpoint/2010/main" val="5836226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2500" b="1" kern="0">
                <a:solidFill>
                  <a:srgbClr val="172A54"/>
                </a:solidFill>
                <a:latin typeface="Arial Black"/>
                <a:ea typeface="Arial Black"/>
                <a:cs typeface="Arial Black"/>
                <a:sym typeface="Arial Black"/>
              </a:rPr>
              <a:t>Castrol Power 1 improved brand value by sending personalized Diwali greeting video from their brand ambassador Tiger Shroff</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Castrol Power 1 decided to recognize all its stakeholders - internal and external, by sending them a personalized Diwali greeting video from their brand ambassador Tiger Shroff</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384995"/>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Castrol wanted its people and community to receive Diwali greetings from their brand ambassador, especially videos where a celebrity is directly addressing them by their names.  They delivered more than 1,30,000 videos, each mapped to the individual receiver ID within a span of 5 days. This initiative by Castrol was targeted at mechanics and dealers who promote and distribute Castrol's products and was very well received and invoked excitement with a sense of gratitude towards the brand </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A personalized message brought a sense of belonging to the people for the company and to partner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CPG</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03528" y="1764003"/>
            <a:ext cx="1273023"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Rephrase.ai</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7" y="5765017"/>
            <a:ext cx="3402211" cy="459286"/>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Brand Value (NPS), Customer Retention, Employee Retention, Partner Retention</a:t>
            </a:r>
            <a:endParaRPr lang="en-IN" sz="12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F633F4C3-291E-F52E-AC6C-3545675635CD}"/>
              </a:ext>
            </a:extLst>
          </p:cNvPr>
          <p:cNvSpPr txBox="1"/>
          <p:nvPr/>
        </p:nvSpPr>
        <p:spPr>
          <a:xfrm>
            <a:off x="3869618" y="6060349"/>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www.rephrase.ai/case-studies/the-ultimate-diwali-greeting</a:t>
            </a:r>
            <a:r>
              <a:rPr lang="en-US" sz="1000"/>
              <a:t> </a:t>
            </a:r>
          </a:p>
          <a:p>
            <a:pPr defTabSz="914400">
              <a:lnSpc>
                <a:spcPct val="90000"/>
              </a:lnSpc>
              <a:defRPr/>
            </a:pPr>
            <a:r>
              <a:rPr lang="en-US" sz="1000" b="1"/>
              <a:t>Client/Other Source</a:t>
            </a:r>
            <a:r>
              <a:rPr lang="en-US" sz="1000"/>
              <a:t>:</a:t>
            </a:r>
          </a:p>
          <a:p>
            <a:pPr defTabSz="914400">
              <a:lnSpc>
                <a:spcPct val="90000"/>
              </a:lnSpc>
              <a:defRPr/>
            </a:pPr>
            <a:r>
              <a:rPr lang="en-US" sz="1000" b="1"/>
              <a:t>Publish Date: 11/2023</a:t>
            </a:r>
            <a:endParaRPr lang="en-US" sz="1000"/>
          </a:p>
          <a:p>
            <a:pPr defTabSz="914400">
              <a:lnSpc>
                <a:spcPct val="90000"/>
              </a:lnSpc>
              <a:defRPr/>
            </a:pPr>
            <a:r>
              <a:rPr lang="en-US" sz="1000"/>
              <a:t> </a:t>
            </a:r>
          </a:p>
        </p:txBody>
      </p:sp>
      <p:sp>
        <p:nvSpPr>
          <p:cNvPr id="2" name="TextBox 1">
            <a:extLst>
              <a:ext uri="{FF2B5EF4-FFF2-40B4-BE49-F238E27FC236}">
                <a16:creationId xmlns:a16="http://schemas.microsoft.com/office/drawing/2014/main" id="{2A932D9B-9FA7-BD8D-09C6-BB33BD3E0B1B}"/>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7CF12AAD-F756-955D-EC1A-1CE8CD05BB6F}"/>
              </a:ext>
            </a:extLst>
          </p:cNvPr>
          <p:cNvSpPr txBox="1"/>
          <p:nvPr/>
        </p:nvSpPr>
        <p:spPr>
          <a:xfrm>
            <a:off x="2170983" y="1761848"/>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Castrol</a:t>
            </a:r>
          </a:p>
        </p:txBody>
      </p:sp>
      <p:sp>
        <p:nvSpPr>
          <p:cNvPr id="15" name="TextBox 14">
            <a:extLst>
              <a:ext uri="{FF2B5EF4-FFF2-40B4-BE49-F238E27FC236}">
                <a16:creationId xmlns:a16="http://schemas.microsoft.com/office/drawing/2014/main" id="{0C192BDB-48CF-6CCA-034E-BB8B495C982A}"/>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086C86CA-3032-CF32-7C6B-FA8ED346D41B}"/>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Video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62349F96-0847-2AE8-FF76-0DC9F9BEC8C3}"/>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32</a:t>
            </a:r>
          </a:p>
        </p:txBody>
      </p:sp>
    </p:spTree>
    <p:extLst>
      <p:ext uri="{BB962C8B-B14F-4D97-AF65-F5344CB8AC3E}">
        <p14:creationId xmlns:p14="http://schemas.microsoft.com/office/powerpoint/2010/main" val="21219042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Swiss Re partners with Lumen5 to reduce time for creative video production</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Providers of reinsurance, Swiss Re's in-house production team was having trouble creating daily short social media videos because of spontaneous content and impromptu requests. They wanted to remove the content bottleneck so they could excel at social storytelling.</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384995"/>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y used Lumen5's artificial intelligence and text-to-video features for their video content creation need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Lumen5 featured an intuitive drag-and-drop interface supported by AI  and simple workflows. With a comprehensive selection of stock media and a library of pre-built templates, the platform made it easy to create a diverse selection of content.</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 tool also supported custom branding and multiple video format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09277" y="4894102"/>
            <a:ext cx="7990162"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Swiss Re's communications team uses Lumen5, allowing them to be creative with their social marketing, resulting in increased video production averaging at 30 minutes for complex videos.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y create two or more videos per topic, resulting in approximately 551 videos in one year and nearly 400 videos by a single user.</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Financial Service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52153" y="1809315"/>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Lumen5</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6A5CA09E-6A34-E538-21C6-0D974E6066A6}"/>
              </a:ext>
            </a:extLst>
          </p:cNvPr>
          <p:cNvSpPr txBox="1"/>
          <p:nvPr/>
        </p:nvSpPr>
        <p:spPr>
          <a:xfrm>
            <a:off x="3869618" y="6052720"/>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content.lumen5.com/swissre </a:t>
            </a:r>
            <a:endParaRPr lang="en-US" sz="1000"/>
          </a:p>
          <a:p>
            <a:pPr defTabSz="914400">
              <a:lnSpc>
                <a:spcPct val="90000"/>
              </a:lnSpc>
              <a:defRPr/>
            </a:pPr>
            <a:r>
              <a:rPr lang="en-US" sz="1000" b="1"/>
              <a:t>Client/Other Source:</a:t>
            </a:r>
          </a:p>
          <a:p>
            <a:pPr defTabSz="914400">
              <a:lnSpc>
                <a:spcPct val="90000"/>
              </a:lnSpc>
              <a:defRPr/>
            </a:pPr>
            <a:r>
              <a:rPr lang="en-US" sz="1000" b="1"/>
              <a:t>Publish Date: 7/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26F22D7E-3A49-800A-DFA3-40ED7F02DED2}"/>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484C8367-07F2-CB11-E843-60C7F92B70B9}"/>
              </a:ext>
            </a:extLst>
          </p:cNvPr>
          <p:cNvSpPr txBox="1"/>
          <p:nvPr/>
        </p:nvSpPr>
        <p:spPr>
          <a:xfrm>
            <a:off x="2179861" y="1804798"/>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Swiss Re</a:t>
            </a:r>
          </a:p>
        </p:txBody>
      </p:sp>
      <p:sp>
        <p:nvSpPr>
          <p:cNvPr id="15" name="TextBox 14">
            <a:extLst>
              <a:ext uri="{FF2B5EF4-FFF2-40B4-BE49-F238E27FC236}">
                <a16:creationId xmlns:a16="http://schemas.microsoft.com/office/drawing/2014/main" id="{7ED0F6C6-1DCB-FF02-2DAF-8C9791074728}"/>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7E8F6AA6-4CDD-E3F8-E52E-6B5AF32D20EC}"/>
              </a:ext>
            </a:extLst>
          </p:cNvPr>
          <p:cNvSpPr txBox="1"/>
          <p:nvPr/>
        </p:nvSpPr>
        <p:spPr>
          <a:xfrm>
            <a:off x="2260291" y="2753118"/>
            <a:ext cx="178314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Video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CCA28CE2-FA1C-E65E-F4E8-15C45BBE2697}"/>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68</a:t>
            </a:r>
          </a:p>
        </p:txBody>
      </p:sp>
    </p:spTree>
    <p:extLst>
      <p:ext uri="{BB962C8B-B14F-4D97-AF65-F5344CB8AC3E}">
        <p14:creationId xmlns:p14="http://schemas.microsoft.com/office/powerpoint/2010/main" val="34484320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BESTSELLER cuts 50% classroom time with AI video</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892552"/>
          </a:xfrm>
          <a:prstGeom prst="rect">
            <a:avLst/>
          </a:prstGeom>
          <a:noFill/>
        </p:spPr>
        <p:txBody>
          <a:bodyPr wrap="square" rtlCol="0">
            <a:spAutoFit/>
          </a:bodyPr>
          <a:lstStyle/>
          <a:p>
            <a:pPr algn="just" defTabSz="914400">
              <a:buClr>
                <a:srgbClr val="000000"/>
              </a:buClr>
            </a:pPr>
            <a:r>
              <a:rPr lang="en-US" sz="1300" kern="0">
                <a:solidFill>
                  <a:srgbClr val="000000"/>
                </a:solidFill>
                <a:cs typeface="Arial"/>
                <a:sym typeface="Arial"/>
              </a:rPr>
              <a:t>BESTSELLER offers courses and sends trainers to educate office workers and store staff. The team must extend on-demand learning content on their Learning Experience Platform. Traditional video content is part of their toolbox but has its limitations: Untrained cast - multiple takes, difficult to update videos, Hard to scale.</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492716"/>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With Synthesia, the team creates short training videos from their desks, making content production much faster and learning sessions more efficient</a:t>
            </a:r>
          </a:p>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They also convert classroom content into prep videos that participants complete before attending in-person workshops</a:t>
            </a:r>
          </a:p>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They get the script from community owners or trainers, paste it into Synthesia's script box, choose an avatar, make a few edits, and generate the video. Then they upload the training video to the Learning Experience Platform</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193" y="4865694"/>
            <a:ext cx="7954975" cy="10926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Optimized Classroom Training - AI preparation videos save participants 50% of their time in the classroom</a:t>
            </a:r>
          </a:p>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Content scaling - The team has created 250+ AI videos and added them to more than 50 online courses</a:t>
            </a:r>
          </a:p>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Time savings - Video production time in cut to half</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40" y="2714615"/>
            <a:ext cx="1946348" cy="523220"/>
          </a:xfrm>
          <a:prstGeom prst="rect">
            <a:avLst/>
          </a:prstGeom>
          <a:noFill/>
        </p:spPr>
        <p:txBody>
          <a:bodyPr wrap="square" rtlCol="0">
            <a:spAutoFit/>
          </a:bodyPr>
          <a:lstStyle/>
          <a:p>
            <a:pPr defTabSz="914400">
              <a:buClr>
                <a:srgbClr val="000000"/>
              </a:buClr>
              <a:defRPr/>
            </a:pPr>
            <a:r>
              <a:rPr kumimoji="0" lang="en-US" sz="1400" b="0" i="0" u="none" strike="noStrike" kern="0" cap="none" spc="0" normalizeH="0" baseline="0" noProof="0">
                <a:ln>
                  <a:noFill/>
                </a:ln>
                <a:solidFill>
                  <a:srgbClr val="000000"/>
                </a:solidFill>
                <a:effectLst/>
                <a:uLnTx/>
                <a:uFillTx/>
                <a:cs typeface="Arial"/>
                <a:sym typeface="Arial"/>
              </a:rPr>
              <a:t>Apparel, Accessories and Luxury Good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818398"/>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Synthesia</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		</a:t>
            </a:r>
          </a:p>
        </p:txBody>
      </p:sp>
      <p:sp>
        <p:nvSpPr>
          <p:cNvPr id="13" name="Rectangle 12">
            <a:extLst>
              <a:ext uri="{FF2B5EF4-FFF2-40B4-BE49-F238E27FC236}">
                <a16:creationId xmlns:a16="http://schemas.microsoft.com/office/drawing/2014/main" id="{A55D2298-5195-C0E4-B136-A0B1A68F1344}"/>
              </a:ext>
            </a:extLst>
          </p:cNvPr>
          <p:cNvSpPr/>
          <p:nvPr/>
        </p:nvSpPr>
        <p:spPr>
          <a:xfrm>
            <a:off x="332837" y="5765016"/>
            <a:ext cx="2948037" cy="523219"/>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Scalability, Process Optimization </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F62B8379-F931-95B7-133D-994E6580F7B1}"/>
              </a:ext>
            </a:extLst>
          </p:cNvPr>
          <p:cNvSpPr txBox="1"/>
          <p:nvPr/>
        </p:nvSpPr>
        <p:spPr>
          <a:xfrm>
            <a:off x="3869618" y="6052720"/>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www.synthesia.io/case-studies/bestseller</a:t>
            </a:r>
            <a:r>
              <a:rPr lang="en-US" sz="1000"/>
              <a:t> </a:t>
            </a:r>
          </a:p>
          <a:p>
            <a:pPr defTabSz="914400">
              <a:lnSpc>
                <a:spcPct val="90000"/>
              </a:lnSpc>
              <a:defRPr/>
            </a:pPr>
            <a:r>
              <a:rPr lang="en-US" sz="1000" b="1"/>
              <a:t>Client/Other Source</a:t>
            </a:r>
            <a:r>
              <a:rPr lang="en-US" sz="1000"/>
              <a:t>:</a:t>
            </a:r>
          </a:p>
          <a:p>
            <a:pPr defTabSz="914400">
              <a:lnSpc>
                <a:spcPct val="90000"/>
              </a:lnSpc>
              <a:defRPr/>
            </a:pPr>
            <a:r>
              <a:rPr lang="en-US" sz="1000" b="1"/>
              <a:t>Publish Date: 7/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AD87C0F0-18D8-4F01-AF12-A4059F39CD02}"/>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8" name="TextBox 7">
            <a:extLst>
              <a:ext uri="{FF2B5EF4-FFF2-40B4-BE49-F238E27FC236}">
                <a16:creationId xmlns:a16="http://schemas.microsoft.com/office/drawing/2014/main" id="{7683187A-B87D-8709-88E5-93D0DF83D349}"/>
              </a:ext>
            </a:extLst>
          </p:cNvPr>
          <p:cNvSpPr txBox="1"/>
          <p:nvPr/>
        </p:nvSpPr>
        <p:spPr>
          <a:xfrm>
            <a:off x="2190187" y="1813881"/>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BESTSELLER</a:t>
            </a:r>
          </a:p>
        </p:txBody>
      </p:sp>
      <p:sp>
        <p:nvSpPr>
          <p:cNvPr id="12" name="TextBox 11">
            <a:extLst>
              <a:ext uri="{FF2B5EF4-FFF2-40B4-BE49-F238E27FC236}">
                <a16:creationId xmlns:a16="http://schemas.microsoft.com/office/drawing/2014/main" id="{1D54EFC2-A76E-8FBD-3A92-F350CA4CDF9B}"/>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B969E958-5CA6-60BF-D0C9-EC9CB6855801}"/>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Video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C5C8E7D9-8651-26F1-3A17-423A50C14DD7}"/>
              </a:ext>
            </a:extLst>
          </p:cNvPr>
          <p:cNvSpPr txBox="1"/>
          <p:nvPr/>
        </p:nvSpPr>
        <p:spPr>
          <a:xfrm>
            <a:off x="8569828" y="5964515"/>
            <a:ext cx="1551707" cy="338554"/>
          </a:xfrm>
          <a:prstGeom prst="rect">
            <a:avLst/>
          </a:prstGeom>
          <a:noFill/>
        </p:spPr>
        <p:txBody>
          <a:bodyPr wrap="none" lIns="0" rIns="0" rtlCol="0">
            <a:spAutoFit/>
          </a:bodyPr>
          <a:lstStyle/>
          <a:p>
            <a:pPr algn="l">
              <a:spcBef>
                <a:spcPts val="600"/>
              </a:spcBef>
            </a:pPr>
            <a:r>
              <a:rPr lang="en-US" sz="1600"/>
              <a:t>Case Study ID: 6</a:t>
            </a:r>
          </a:p>
        </p:txBody>
      </p:sp>
    </p:spTree>
    <p:extLst>
      <p:ext uri="{BB962C8B-B14F-4D97-AF65-F5344CB8AC3E}">
        <p14:creationId xmlns:p14="http://schemas.microsoft.com/office/powerpoint/2010/main" val="17355548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2500" b="1" kern="0">
                <a:solidFill>
                  <a:srgbClr val="172A54"/>
                </a:solidFill>
                <a:latin typeface="Arial Black"/>
                <a:ea typeface="Arial Black"/>
                <a:cs typeface="Arial Black"/>
                <a:sym typeface="Arial Black"/>
              </a:rPr>
              <a:t>ALICE uses GenAI to create multilingual, text-to-video capabilities to create virtual receptionists for global market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ALICE Receptionist is an on-premises visitor management tool. Its task of maintaining consistency across different filming days with the same actors was difficult and time-consuming, requiring coordination of lighting, clothing, hair, and makeup. Additionally, creating content across different languages was difficult, as actors rarely speak English, Chinese, and Arabic fluently</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ALICE was able to generate a library of videos relevant for use in various markets by simply submitting text and selecting their preferred digital receptionist. This process replaced traditional video production and allowed for easy updates. They were also able to provide services in any language fluently, particularly important when offering solutions to office and retail locations across global market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Flexible video library - Increased the flexibility and customization of the content through a rapid, highly flexible video generation proces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10x agility -  Automatic avatar video updates allow rapidly changing requirement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Rapid market expansion - Multilingual</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defTabSz="914400">
              <a:buClr>
                <a:srgbClr val="000000"/>
              </a:buClr>
              <a:defRPr/>
            </a:pPr>
            <a:r>
              <a:rPr lang="en-US" sz="1400" kern="0">
                <a:solidFill>
                  <a:srgbClr val="000000"/>
                </a:solidFill>
                <a:cs typeface="Arial"/>
                <a:sym typeface="Arial"/>
              </a:rPr>
              <a:t>Visitor Manageme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60" name="TextBox 759">
            <a:extLst>
              <a:ext uri="{FF2B5EF4-FFF2-40B4-BE49-F238E27FC236}">
                <a16:creationId xmlns:a16="http://schemas.microsoft.com/office/drawing/2014/main" id="{16F0A96B-3D1E-E8DF-AC52-46F2C43A756E}"/>
              </a:ext>
            </a:extLst>
          </p:cNvPr>
          <p:cNvSpPr txBox="1"/>
          <p:nvPr/>
        </p:nvSpPr>
        <p:spPr>
          <a:xfrm>
            <a:off x="2132126" y="1743142"/>
            <a:ext cx="1505115"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ALICE Receptionist</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5"/>
            <a:ext cx="2520000" cy="523641"/>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Quality, Agility, Cycle Time</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cess Specific, Medium Value</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5AF84307-E076-74D9-1AE2-0C9EA082C5F9}"/>
              </a:ext>
            </a:extLst>
          </p:cNvPr>
          <p:cNvSpPr txBox="1"/>
          <p:nvPr/>
        </p:nvSpPr>
        <p:spPr>
          <a:xfrm>
            <a:off x="3869618" y="6052720"/>
            <a:ext cx="6554541" cy="507831"/>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hourone.ai/case-studies/alice </a:t>
            </a:r>
            <a:endParaRPr lang="en-US" sz="1000"/>
          </a:p>
          <a:p>
            <a:pPr defTabSz="914400">
              <a:lnSpc>
                <a:spcPct val="90000"/>
              </a:lnSpc>
              <a:defRPr/>
            </a:pPr>
            <a:r>
              <a:rPr lang="en-US" sz="1000" b="1"/>
              <a:t>Client/Other Source: </a:t>
            </a:r>
          </a:p>
          <a:p>
            <a:pPr defTabSz="914400">
              <a:lnSpc>
                <a:spcPct val="90000"/>
              </a:lnSpc>
              <a:defRPr/>
            </a:pPr>
            <a:r>
              <a:rPr lang="en-US" sz="1000" b="1"/>
              <a:t>Publish Date: 08/2022</a:t>
            </a:r>
          </a:p>
        </p:txBody>
      </p:sp>
      <p:sp>
        <p:nvSpPr>
          <p:cNvPr id="2" name="TextBox 1">
            <a:extLst>
              <a:ext uri="{FF2B5EF4-FFF2-40B4-BE49-F238E27FC236}">
                <a16:creationId xmlns:a16="http://schemas.microsoft.com/office/drawing/2014/main" id="{360DF9D2-8729-D9EF-F911-C548BCA4D90D}"/>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6" name="TextBox 15">
            <a:extLst>
              <a:ext uri="{FF2B5EF4-FFF2-40B4-BE49-F238E27FC236}">
                <a16:creationId xmlns:a16="http://schemas.microsoft.com/office/drawing/2014/main" id="{46D33723-5732-933F-7FD0-E2F5F65DD3DA}"/>
              </a:ext>
            </a:extLst>
          </p:cNvPr>
          <p:cNvSpPr txBox="1"/>
          <p:nvPr/>
        </p:nvSpPr>
        <p:spPr>
          <a:xfrm>
            <a:off x="39301" y="1783200"/>
            <a:ext cx="1609242"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Hour One</a:t>
            </a:r>
            <a:endParaRPr lang="en-US" sz="1400" b="1" kern="0">
              <a:solidFill>
                <a:srgbClr val="000000"/>
              </a:solidFill>
              <a:cs typeface="Arial"/>
              <a:sym typeface="Arial"/>
            </a:endParaRPr>
          </a:p>
        </p:txBody>
      </p:sp>
      <p:sp>
        <p:nvSpPr>
          <p:cNvPr id="8" name="TextBox 7">
            <a:extLst>
              <a:ext uri="{FF2B5EF4-FFF2-40B4-BE49-F238E27FC236}">
                <a16:creationId xmlns:a16="http://schemas.microsoft.com/office/drawing/2014/main" id="{35FBD01E-F9E0-BCD9-F3EC-675E380EC972}"/>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4" name="TextBox 13">
            <a:extLst>
              <a:ext uri="{FF2B5EF4-FFF2-40B4-BE49-F238E27FC236}">
                <a16:creationId xmlns:a16="http://schemas.microsoft.com/office/drawing/2014/main" id="{D14EB614-2F1A-7307-62A0-F6210DCDC206}"/>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Video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BA49014F-E989-0B8E-A950-CE367D418049}"/>
              </a:ext>
            </a:extLst>
          </p:cNvPr>
          <p:cNvSpPr txBox="1"/>
          <p:nvPr/>
        </p:nvSpPr>
        <p:spPr>
          <a:xfrm>
            <a:off x="8569828" y="5964515"/>
            <a:ext cx="1779333" cy="338554"/>
          </a:xfrm>
          <a:prstGeom prst="rect">
            <a:avLst/>
          </a:prstGeom>
          <a:noFill/>
        </p:spPr>
        <p:txBody>
          <a:bodyPr wrap="none" lIns="0" rIns="0" rtlCol="0">
            <a:spAutoFit/>
          </a:bodyPr>
          <a:lstStyle/>
          <a:p>
            <a:pPr algn="l">
              <a:spcBef>
                <a:spcPts val="600"/>
              </a:spcBef>
            </a:pPr>
            <a:r>
              <a:rPr lang="en-US" sz="1600"/>
              <a:t>Case Study ID: 108</a:t>
            </a:r>
          </a:p>
        </p:txBody>
      </p:sp>
    </p:spTree>
    <p:extLst>
      <p:ext uri="{BB962C8B-B14F-4D97-AF65-F5344CB8AC3E}">
        <p14:creationId xmlns:p14="http://schemas.microsoft.com/office/powerpoint/2010/main" val="21938331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Virtual newscasters and 3D newsrooms help </a:t>
            </a:r>
            <a:r>
              <a:rPr lang="en-US" sz="3200" b="1" kern="0" err="1">
                <a:solidFill>
                  <a:srgbClr val="172A54"/>
                </a:solidFill>
                <a:latin typeface="Arial Black"/>
                <a:ea typeface="Arial Black"/>
                <a:cs typeface="Arial Black"/>
                <a:sym typeface="Arial Black"/>
              </a:rPr>
              <a:t>DeFiance</a:t>
            </a:r>
            <a:r>
              <a:rPr lang="en-US" sz="3200" b="1" kern="0">
                <a:solidFill>
                  <a:srgbClr val="172A54"/>
                </a:solidFill>
                <a:latin typeface="Arial Black"/>
                <a:ea typeface="Arial Black"/>
                <a:cs typeface="Arial Black"/>
                <a:sym typeface="Arial Black"/>
              </a:rPr>
              <a:t> Media automate rapid content creation</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err="1">
                <a:solidFill>
                  <a:srgbClr val="000000"/>
                </a:solidFill>
                <a:cs typeface="Arial"/>
                <a:sym typeface="Arial"/>
              </a:rPr>
              <a:t>DeFiance</a:t>
            </a:r>
            <a:r>
              <a:rPr lang="en-US" sz="1400" kern="0">
                <a:solidFill>
                  <a:srgbClr val="000000"/>
                </a:solidFill>
                <a:cs typeface="Arial"/>
                <a:sym typeface="Arial"/>
              </a:rPr>
              <a:t> Media faced the need for a newscaster who would deliver a steady stream of news content throughout the day, in the form of immersive video segments — which would have been an impossible undertaking from a resource, timing, and cost perspective if attempting to use live human talent</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DeFiance cast “Roxy”, a custom virtual news anchor proprietary to the network, to deliver news stories daily, every 2 hours, year-round</a:t>
            </a:r>
          </a:p>
          <a:p>
            <a:pPr algn="just" defTabSz="914400">
              <a:buClr>
                <a:srgbClr val="000000"/>
              </a:buClr>
            </a:pPr>
            <a:r>
              <a:rPr lang="en-US" sz="1400" kern="0">
                <a:solidFill>
                  <a:srgbClr val="000000"/>
                </a:solidFill>
                <a:cs typeface="Arial"/>
                <a:sym typeface="Arial"/>
              </a:rPr>
              <a:t>Hour One created a custom virtual studio for around-the-clock news publishing. By simply entering text and visual media into Hour One’s Reals platform, videos are generated in minutes and ready to deploy across DeFiance’s TV and video network</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1169551"/>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2.6K videos generated – Automated the creation of, over 2600 videos and counting — resulting in the highest volume of anchor-led news in history</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98% savings - No need to hire live anchors and crew, or to rent a studio</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Bespoke virtual newsroom - Fully custom 3D virtual newsroom based on DeFiance’s brand and vision for the future of news, available to them 24/7</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40" y="2711614"/>
            <a:ext cx="1986094" cy="523220"/>
          </a:xfrm>
          <a:prstGeom prst="rect">
            <a:avLst/>
          </a:prstGeom>
          <a:noFill/>
        </p:spPr>
        <p:txBody>
          <a:bodyPr wrap="square" rtlCol="0">
            <a:spAutoFit/>
          </a:bodyPr>
          <a:lstStyle/>
          <a:p>
            <a:pPr defTabSz="914400">
              <a:buClr>
                <a:srgbClr val="000000"/>
              </a:buClr>
              <a:defRPr/>
            </a:pPr>
            <a:r>
              <a:rPr lang="en-US" sz="1400" kern="0">
                <a:solidFill>
                  <a:srgbClr val="000000"/>
                </a:solidFill>
                <a:cs typeface="Arial"/>
                <a:sym typeface="Arial"/>
              </a:rPr>
              <a:t>Leisure Products (Health &amp; Fitness)</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45246"/>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HourOne</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7" y="5765016"/>
            <a:ext cx="3262317"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Cost Savings, Productivity, Process Redesign	</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cess Specific, Medium Value</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		</a:t>
            </a:r>
          </a:p>
        </p:txBody>
      </p:sp>
      <p:sp>
        <p:nvSpPr>
          <p:cNvPr id="3" name="TextBox 2">
            <a:extLst>
              <a:ext uri="{FF2B5EF4-FFF2-40B4-BE49-F238E27FC236}">
                <a16:creationId xmlns:a16="http://schemas.microsoft.com/office/drawing/2014/main" id="{A5D72984-C515-6045-9B53-E9724FA8234B}"/>
              </a:ext>
            </a:extLst>
          </p:cNvPr>
          <p:cNvSpPr txBox="1"/>
          <p:nvPr/>
        </p:nvSpPr>
        <p:spPr>
          <a:xfrm>
            <a:off x="3869618" y="6052720"/>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hourone.ai/case-studies/defiance </a:t>
            </a:r>
            <a:endParaRPr lang="en-US" sz="1000"/>
          </a:p>
          <a:p>
            <a:pPr defTabSz="914400">
              <a:lnSpc>
                <a:spcPct val="90000"/>
              </a:lnSpc>
              <a:defRPr/>
            </a:pPr>
            <a:r>
              <a:rPr lang="en-US" sz="1000" b="1"/>
              <a:t>Client/Other Source: </a:t>
            </a:r>
          </a:p>
          <a:p>
            <a:pPr defTabSz="914400">
              <a:lnSpc>
                <a:spcPct val="90000"/>
              </a:lnSpc>
              <a:defRPr/>
            </a:pPr>
            <a:r>
              <a:rPr lang="en-US" sz="1000" b="1"/>
              <a:t>Publish Date: 6/2023</a:t>
            </a:r>
          </a:p>
          <a:p>
            <a:pPr defTabSz="914400">
              <a:lnSpc>
                <a:spcPct val="90000"/>
              </a:lnSpc>
              <a:defRPr/>
            </a:pPr>
            <a:endParaRPr lang="en-US" sz="1000" b="1"/>
          </a:p>
          <a:p>
            <a:pPr defTabSz="914400">
              <a:lnSpc>
                <a:spcPct val="90000"/>
              </a:lnSpc>
              <a:defRPr/>
            </a:pPr>
            <a:endParaRPr lang="en-US" sz="1000"/>
          </a:p>
        </p:txBody>
      </p:sp>
      <p:sp>
        <p:nvSpPr>
          <p:cNvPr id="2" name="TextBox 1">
            <a:extLst>
              <a:ext uri="{FF2B5EF4-FFF2-40B4-BE49-F238E27FC236}">
                <a16:creationId xmlns:a16="http://schemas.microsoft.com/office/drawing/2014/main" id="{BAA812F3-07AB-F1BC-74FA-7B658C87FBBA}"/>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2407E26B-1DE3-D044-B7BE-0C11C228D373}"/>
              </a:ext>
            </a:extLst>
          </p:cNvPr>
          <p:cNvSpPr txBox="1"/>
          <p:nvPr/>
        </p:nvSpPr>
        <p:spPr>
          <a:xfrm>
            <a:off x="2190187" y="1740729"/>
            <a:ext cx="1505115"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DeFiance Media</a:t>
            </a:r>
          </a:p>
        </p:txBody>
      </p:sp>
      <p:sp>
        <p:nvSpPr>
          <p:cNvPr id="15" name="TextBox 14">
            <a:extLst>
              <a:ext uri="{FF2B5EF4-FFF2-40B4-BE49-F238E27FC236}">
                <a16:creationId xmlns:a16="http://schemas.microsoft.com/office/drawing/2014/main" id="{81C3C9C7-4217-DF86-A48B-1F0156672F50}"/>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241B55CB-1D6E-D089-1C1B-A71D79AF0379}"/>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Video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B64E5071-906F-754A-B2AC-5A71FC972F1D}"/>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55</a:t>
            </a:r>
          </a:p>
        </p:txBody>
      </p:sp>
    </p:spTree>
    <p:extLst>
      <p:ext uri="{BB962C8B-B14F-4D97-AF65-F5344CB8AC3E}">
        <p14:creationId xmlns:p14="http://schemas.microsoft.com/office/powerpoint/2010/main" val="25863484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Uniform used AI to build a video marketing strategy</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11346" y="1615417"/>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Uniform, a visual workspace platform, previously had a traditional marketing team, they realized that developers didn't respond well to traditional methods. They sought a solution to satisfy their employer and potential customers, including new marketing methods and reducing production cost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With HeyGen, they created a lifelike avatar, allowing to create videos that could engage with customer base. Effectively being able to communicate increased brand awareness and trust. With the HeyGen AI avatar they could engage directly with the decision-maker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 38% Sales: Reaching out through video (and email marketing) increased sales exponentially.</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 70% Productivity</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 81% Faster Video Creation.</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defTabSz="914400">
              <a:buClr>
                <a:srgbClr val="000000"/>
              </a:buClr>
              <a:defRPr/>
            </a:pPr>
            <a:r>
              <a:rPr lang="en-US" sz="1400" kern="0">
                <a:solidFill>
                  <a:srgbClr val="000000"/>
                </a:solidFill>
                <a:cs typeface="Arial"/>
                <a:sym typeface="Arial"/>
              </a:rPr>
              <a:t>Digital Marketing</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644662"/>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HeyGen</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Revenue Growth, Efficienc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6C7671D9-6EB4-10B3-DFE9-F0A7A869435A}"/>
              </a:ext>
            </a:extLst>
          </p:cNvPr>
          <p:cNvSpPr txBox="1"/>
          <p:nvPr/>
        </p:nvSpPr>
        <p:spPr>
          <a:xfrm>
            <a:off x="3869618" y="6052720"/>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www.heygen.com/case-studies/how-uniform-used-ai-to-build-a-video-marketing-strategy</a:t>
            </a:r>
            <a:r>
              <a:rPr lang="en-US" sz="1000"/>
              <a:t> </a:t>
            </a:r>
          </a:p>
          <a:p>
            <a:pPr defTabSz="914400">
              <a:lnSpc>
                <a:spcPct val="90000"/>
              </a:lnSpc>
              <a:defRPr/>
            </a:pPr>
            <a:r>
              <a:rPr lang="en-US" sz="1000" b="1"/>
              <a:t>Client/Other Source: </a:t>
            </a:r>
          </a:p>
          <a:p>
            <a:pPr defTabSz="914400">
              <a:lnSpc>
                <a:spcPct val="90000"/>
              </a:lnSpc>
              <a:defRPr/>
            </a:pPr>
            <a:r>
              <a:rPr lang="en-US" sz="1000" b="1"/>
              <a:t>Publish Date: 8/2023</a:t>
            </a:r>
          </a:p>
          <a:p>
            <a:pPr defTabSz="914400">
              <a:lnSpc>
                <a:spcPct val="90000"/>
              </a:lnSpc>
              <a:defRPr/>
            </a:pPr>
            <a:endParaRPr lang="en-US" sz="1000"/>
          </a:p>
        </p:txBody>
      </p:sp>
      <p:sp>
        <p:nvSpPr>
          <p:cNvPr id="2" name="TextBox 1">
            <a:extLst>
              <a:ext uri="{FF2B5EF4-FFF2-40B4-BE49-F238E27FC236}">
                <a16:creationId xmlns:a16="http://schemas.microsoft.com/office/drawing/2014/main" id="{1EBB20E3-6F53-D454-2F03-56D3644AB51A}"/>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98A4D135-E485-461E-1AB4-0CFD455618DA}"/>
              </a:ext>
            </a:extLst>
          </p:cNvPr>
          <p:cNvSpPr txBox="1"/>
          <p:nvPr/>
        </p:nvSpPr>
        <p:spPr>
          <a:xfrm>
            <a:off x="2190187" y="1640145"/>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Uniform</a:t>
            </a:r>
          </a:p>
        </p:txBody>
      </p:sp>
      <p:sp>
        <p:nvSpPr>
          <p:cNvPr id="15" name="TextBox 14">
            <a:extLst>
              <a:ext uri="{FF2B5EF4-FFF2-40B4-BE49-F238E27FC236}">
                <a16:creationId xmlns:a16="http://schemas.microsoft.com/office/drawing/2014/main" id="{602329DF-7853-2C22-A6AB-28E8E0EE7D2F}"/>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81F6E9A8-F9CE-8FE6-342E-23DFCF572818}"/>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Video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8E3791D1-5A91-F9CE-00FD-B306026F9069}"/>
              </a:ext>
            </a:extLst>
          </p:cNvPr>
          <p:cNvSpPr txBox="1"/>
          <p:nvPr/>
        </p:nvSpPr>
        <p:spPr>
          <a:xfrm>
            <a:off x="10211519" y="6000735"/>
            <a:ext cx="1665521" cy="338554"/>
          </a:xfrm>
          <a:prstGeom prst="rect">
            <a:avLst/>
          </a:prstGeom>
          <a:noFill/>
        </p:spPr>
        <p:txBody>
          <a:bodyPr wrap="none" lIns="0" rIns="0" rtlCol="0">
            <a:spAutoFit/>
          </a:bodyPr>
          <a:lstStyle/>
          <a:p>
            <a:pPr algn="l">
              <a:spcBef>
                <a:spcPts val="600"/>
              </a:spcBef>
            </a:pPr>
            <a:r>
              <a:rPr lang="en-US" sz="1600"/>
              <a:t>Case Study ID: 73</a:t>
            </a:r>
          </a:p>
        </p:txBody>
      </p:sp>
    </p:spTree>
    <p:extLst>
      <p:ext uri="{BB962C8B-B14F-4D97-AF65-F5344CB8AC3E}">
        <p14:creationId xmlns:p14="http://schemas.microsoft.com/office/powerpoint/2010/main" val="6742185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VTM Advertising increases productivity with HeyGen technology</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HeyGen devised a consistent video marketing process that eliminates the necessity for studio space, the expenses associated with actors, and the requirement for costly camera equipment. Drive sales leads by crafting and repurposing content across various social platforms and within email marketing campaign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Utilizing HeyGen's Avatar Lite technology, team have achieved a substantial increase in video production volume. This achievement is made possible through the synergy of ChatGPT, enabling to create SEO content, formulate scripts, and seamlessly integrate this process into his day-to-day workflow.</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120% Increase in productivity</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59% Lead Generation</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42% Sale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Advertising</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54390"/>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HeyGen</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Revenue Growth, Efficienc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9E3C2D4C-4829-AC1E-D438-3D37956A534C}"/>
              </a:ext>
            </a:extLst>
          </p:cNvPr>
          <p:cNvSpPr txBox="1"/>
          <p:nvPr/>
        </p:nvSpPr>
        <p:spPr>
          <a:xfrm>
            <a:off x="3869618" y="6052720"/>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www.heygen.com/case-studies/real-estate-jesse-lucero</a:t>
            </a:r>
            <a:r>
              <a:rPr lang="en-US" sz="1000"/>
              <a:t> </a:t>
            </a:r>
          </a:p>
          <a:p>
            <a:pPr defTabSz="914400">
              <a:lnSpc>
                <a:spcPct val="90000"/>
              </a:lnSpc>
              <a:defRPr/>
            </a:pPr>
            <a:r>
              <a:rPr lang="en-US" sz="1000" b="1"/>
              <a:t>Client/Other Source: </a:t>
            </a:r>
            <a:r>
              <a:rPr lang="en-US" sz="1000"/>
              <a:t>NA</a:t>
            </a:r>
          </a:p>
          <a:p>
            <a:pPr defTabSz="914400">
              <a:lnSpc>
                <a:spcPct val="90000"/>
              </a:lnSpc>
              <a:defRPr/>
            </a:pPr>
            <a:r>
              <a:rPr lang="en-US" sz="1000" b="1"/>
              <a:t>Publish Date: 8/2023</a:t>
            </a:r>
          </a:p>
          <a:p>
            <a:pPr defTabSz="914400">
              <a:lnSpc>
                <a:spcPct val="90000"/>
              </a:lnSpc>
              <a:defRPr/>
            </a:pPr>
            <a:endParaRPr lang="en-US" sz="1000"/>
          </a:p>
        </p:txBody>
      </p:sp>
      <p:sp>
        <p:nvSpPr>
          <p:cNvPr id="2" name="TextBox 1">
            <a:extLst>
              <a:ext uri="{FF2B5EF4-FFF2-40B4-BE49-F238E27FC236}">
                <a16:creationId xmlns:a16="http://schemas.microsoft.com/office/drawing/2014/main" id="{951B1057-4893-90E9-B203-29A09B51ECAD}"/>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298E0B2D-0E89-B531-78EE-DE0AD5663A51}"/>
              </a:ext>
            </a:extLst>
          </p:cNvPr>
          <p:cNvSpPr txBox="1"/>
          <p:nvPr/>
        </p:nvSpPr>
        <p:spPr>
          <a:xfrm>
            <a:off x="2190187" y="1749873"/>
            <a:ext cx="1505115"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VTM Advertising</a:t>
            </a:r>
          </a:p>
        </p:txBody>
      </p:sp>
      <p:sp>
        <p:nvSpPr>
          <p:cNvPr id="15" name="TextBox 14">
            <a:extLst>
              <a:ext uri="{FF2B5EF4-FFF2-40B4-BE49-F238E27FC236}">
                <a16:creationId xmlns:a16="http://schemas.microsoft.com/office/drawing/2014/main" id="{55FEB8ED-9DB3-9F82-C4A1-C04BD5E4EAD4}"/>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0F40179D-53C6-DDAB-BFDC-BB04EC95DC13}"/>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Video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FD9913C7-F152-5CE5-B3FC-B91664143544}"/>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74</a:t>
            </a:r>
          </a:p>
        </p:txBody>
      </p:sp>
    </p:spTree>
    <p:extLst>
      <p:ext uri="{BB962C8B-B14F-4D97-AF65-F5344CB8AC3E}">
        <p14:creationId xmlns:p14="http://schemas.microsoft.com/office/powerpoint/2010/main" val="41809148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Duolingo increased developer speed with GitHub Copilot</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Duolingo, a language learning app with more than 500 million regular users, often faced inconsistent standards and workflows, which limited developer mobility and efficiency, limiting Duolingo’s ability to expand its content and deliver on its core mission to build the best education platform in the world and to make it universally available to anyone who needs it. </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3" y="2928885"/>
            <a:ext cx="7911128" cy="1600438"/>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 company has adopted GitHub Copilot, Codespaces, and custom API integrations to improve code consistency, speed, and expertise.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y have standardized workflows across repos and projects using custom bot implementations. GitHub Copilot, an AI-powered pair programmer, provides autocomplete-style suggestions to developers while they code.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 tool can be used by starting to write the code or by writing natural language comments. These tools help remove barriers to using engineering as a force multiplier for expertise.</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25% increase in developer speed with GitHub Copilot</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1m set-up time for largest repo with Codespace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67% decrease in median code review turnaround time</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70% increase in pull request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238922" y="1379255"/>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Education</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43839" y="1779136"/>
            <a:ext cx="1159984"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GitHub Copilot</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506388"/>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Increased Productivity, Cost Savings</a:t>
            </a: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12" name="TextBox 11">
            <a:extLst>
              <a:ext uri="{FF2B5EF4-FFF2-40B4-BE49-F238E27FC236}">
                <a16:creationId xmlns:a16="http://schemas.microsoft.com/office/drawing/2014/main" id="{DB25C492-67D0-A8E7-AB89-EEA3B71CC8F6}"/>
              </a:ext>
            </a:extLst>
          </p:cNvPr>
          <p:cNvSpPr txBox="1"/>
          <p:nvPr/>
        </p:nvSpPr>
        <p:spPr>
          <a:xfrm>
            <a:off x="3869618" y="6060349"/>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github.com/customer-stories/duolingo</a:t>
            </a:r>
            <a:endParaRPr lang="en-US" sz="1000"/>
          </a:p>
          <a:p>
            <a:pPr defTabSz="914400">
              <a:lnSpc>
                <a:spcPct val="90000"/>
              </a:lnSpc>
              <a:defRPr/>
            </a:pPr>
            <a:r>
              <a:rPr lang="en-US" sz="1000" b="1"/>
              <a:t>Publish Date: Unknown</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6901DE6F-77C1-A23B-B70C-87C9D65E011D}"/>
              </a:ext>
            </a:extLst>
          </p:cNvPr>
          <p:cNvSpPr txBox="1"/>
          <p:nvPr/>
        </p:nvSpPr>
        <p:spPr>
          <a:xfrm>
            <a:off x="2090039" y="13803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09B6C1D1-A5A6-7BBC-A93C-4B1FE164696A}"/>
              </a:ext>
            </a:extLst>
          </p:cNvPr>
          <p:cNvSpPr txBox="1"/>
          <p:nvPr/>
        </p:nvSpPr>
        <p:spPr>
          <a:xfrm>
            <a:off x="2090039" y="1842484"/>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Duolingo</a:t>
            </a:r>
          </a:p>
        </p:txBody>
      </p:sp>
      <p:sp>
        <p:nvSpPr>
          <p:cNvPr id="15" name="TextBox 14">
            <a:extLst>
              <a:ext uri="{FF2B5EF4-FFF2-40B4-BE49-F238E27FC236}">
                <a16:creationId xmlns:a16="http://schemas.microsoft.com/office/drawing/2014/main" id="{27824531-41EE-141D-A8BE-82FAB98B4046}"/>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9A3F138C-E0D5-574F-C8E1-9C4D4DC72E37}"/>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Coding Assista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A257341B-5A00-0D91-97F5-D9FBD78B7CC4}"/>
              </a:ext>
            </a:extLst>
          </p:cNvPr>
          <p:cNvSpPr txBox="1"/>
          <p:nvPr/>
        </p:nvSpPr>
        <p:spPr>
          <a:xfrm>
            <a:off x="8569828" y="5964515"/>
            <a:ext cx="1551707" cy="338554"/>
          </a:xfrm>
          <a:prstGeom prst="rect">
            <a:avLst/>
          </a:prstGeom>
          <a:noFill/>
        </p:spPr>
        <p:txBody>
          <a:bodyPr wrap="none" lIns="0" rIns="0" rtlCol="0">
            <a:spAutoFit/>
          </a:bodyPr>
          <a:lstStyle/>
          <a:p>
            <a:pPr algn="l">
              <a:spcBef>
                <a:spcPts val="600"/>
              </a:spcBef>
            </a:pPr>
            <a:r>
              <a:rPr lang="en-US" sz="1600"/>
              <a:t>Case Study ID: 1</a:t>
            </a:r>
          </a:p>
        </p:txBody>
      </p:sp>
    </p:spTree>
    <p:extLst>
      <p:ext uri="{BB962C8B-B14F-4D97-AF65-F5344CB8AC3E}">
        <p14:creationId xmlns:p14="http://schemas.microsoft.com/office/powerpoint/2010/main" val="39490288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2500" b="1" kern="0">
                <a:solidFill>
                  <a:srgbClr val="172A54"/>
                </a:solidFill>
                <a:latin typeface="Arial Black"/>
                <a:ea typeface="Arial Black"/>
                <a:cs typeface="Arial Black"/>
                <a:sym typeface="Arial Black"/>
              </a:rPr>
              <a:t>Just Eat transcreated their widely successful Snoop Dogg advertisement into the Australian market with Synthesia</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Just Eat wanted to leverage its advertising campaign in all the markets they operate. However, they had only recorded the original “Just Eat” version of the song in the advertisement. Synthesia was engaged to help Just Eat create their widely successful Snoop Dogg advertisement (+10m views) into the Australian market</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With the help of Synthesia’s AI video synthesis technology, they enabled Snoop Dogg, the singer of the advertisement song, to replace "Just Eat" with "Menulog" by changing the lip movements in all the shots in the advertisement, as their Australian subsidiary is called Menulog.</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523220"/>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y achieved huge cost savings by not producing the same advertisement twice.</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y face no creative compromise when creating the advertisement to a new market.</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defTabSz="914400">
              <a:buClr>
                <a:srgbClr val="000000"/>
              </a:buClr>
              <a:defRPr/>
            </a:pPr>
            <a:r>
              <a:rPr lang="en-US" sz="1400" kern="0">
                <a:solidFill>
                  <a:srgbClr val="000000"/>
                </a:solidFill>
                <a:cs typeface="Arial"/>
                <a:sym typeface="Arial"/>
              </a:rPr>
              <a:t>Food &amp; Beverages</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90966"/>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Synthesia</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fficiency, Effectiveness</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493E30EA-CC05-0BB8-2AE7-6EF626335A90}"/>
              </a:ext>
            </a:extLst>
          </p:cNvPr>
          <p:cNvSpPr txBox="1"/>
          <p:nvPr/>
        </p:nvSpPr>
        <p:spPr>
          <a:xfrm>
            <a:off x="3869618" y="6052720"/>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www.synthesia.io/post/snoop-dogg</a:t>
            </a:r>
            <a:endParaRPr lang="en-US" sz="1000"/>
          </a:p>
          <a:p>
            <a:pPr defTabSz="914400">
              <a:lnSpc>
                <a:spcPct val="90000"/>
              </a:lnSpc>
              <a:defRPr/>
            </a:pPr>
            <a:endParaRPr lang="en-US" sz="1000"/>
          </a:p>
          <a:p>
            <a:pPr defTabSz="914400">
              <a:lnSpc>
                <a:spcPct val="90000"/>
              </a:lnSpc>
              <a:defRPr/>
            </a:pPr>
            <a:r>
              <a:rPr lang="en-US" sz="1000" b="1"/>
              <a:t>Client/Other Source: </a:t>
            </a:r>
          </a:p>
          <a:p>
            <a:pPr defTabSz="914400">
              <a:lnSpc>
                <a:spcPct val="90000"/>
              </a:lnSpc>
              <a:defRPr/>
            </a:pPr>
            <a:r>
              <a:rPr lang="en-US" sz="1000" b="1"/>
              <a:t>Publish Date: 8/2023</a:t>
            </a:r>
          </a:p>
          <a:p>
            <a:pPr defTabSz="914400">
              <a:lnSpc>
                <a:spcPct val="90000"/>
              </a:lnSpc>
              <a:defRPr/>
            </a:pPr>
            <a:r>
              <a:rPr lang="en-US" sz="1000"/>
              <a:t> </a:t>
            </a:r>
          </a:p>
        </p:txBody>
      </p:sp>
      <p:sp>
        <p:nvSpPr>
          <p:cNvPr id="2" name="TextBox 1">
            <a:extLst>
              <a:ext uri="{FF2B5EF4-FFF2-40B4-BE49-F238E27FC236}">
                <a16:creationId xmlns:a16="http://schemas.microsoft.com/office/drawing/2014/main" id="{F541206E-76BB-A507-9133-25D80E224149}"/>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69FEDB53-9DD4-106B-D9D5-1093D33E11BC}"/>
              </a:ext>
            </a:extLst>
          </p:cNvPr>
          <p:cNvSpPr txBox="1"/>
          <p:nvPr/>
        </p:nvSpPr>
        <p:spPr>
          <a:xfrm>
            <a:off x="2190187" y="1786449"/>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Just Eat</a:t>
            </a:r>
          </a:p>
        </p:txBody>
      </p:sp>
      <p:sp>
        <p:nvSpPr>
          <p:cNvPr id="15" name="TextBox 14">
            <a:extLst>
              <a:ext uri="{FF2B5EF4-FFF2-40B4-BE49-F238E27FC236}">
                <a16:creationId xmlns:a16="http://schemas.microsoft.com/office/drawing/2014/main" id="{8071D960-CADA-F3DB-ACD7-70002E7E2463}"/>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31503976-6C23-73E2-D1B1-9CE5EC17DFCA}"/>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Video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7E2BC8C5-7B4E-E253-A8A9-2612CA268C4E}"/>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79</a:t>
            </a:r>
          </a:p>
        </p:txBody>
      </p:sp>
    </p:spTree>
    <p:extLst>
      <p:ext uri="{BB962C8B-B14F-4D97-AF65-F5344CB8AC3E}">
        <p14:creationId xmlns:p14="http://schemas.microsoft.com/office/powerpoint/2010/main" val="18141688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257E0-F739-DD58-C0B7-649C78D50C4E}"/>
              </a:ext>
            </a:extLst>
          </p:cNvPr>
          <p:cNvSpPr>
            <a:spLocks noGrp="1"/>
          </p:cNvSpPr>
          <p:nvPr>
            <p:ph type="title"/>
          </p:nvPr>
        </p:nvSpPr>
        <p:spPr/>
        <p:txBody>
          <a:bodyPr/>
          <a:lstStyle/>
          <a:p>
            <a:r>
              <a:rPr lang="en-US"/>
              <a:t>Voice Content Generation</a:t>
            </a:r>
          </a:p>
        </p:txBody>
      </p:sp>
      <p:sp>
        <p:nvSpPr>
          <p:cNvPr id="4" name="TextBox 3">
            <a:extLst>
              <a:ext uri="{FF2B5EF4-FFF2-40B4-BE49-F238E27FC236}">
                <a16:creationId xmlns:a16="http://schemas.microsoft.com/office/drawing/2014/main" id="{FD5630A4-3BC3-9E35-3379-CF40F628A03E}"/>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35624782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Snowflake transforms voiceover creation</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7" y="1611114"/>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Snowflake is a Data Cloud company. With multiple educational products to produce and maintain, they realized that they needed a better solution for consistent, convenient, and high-quality video voiceovers. </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y decided to create a blind test and created three voiceover recordings. One was someone on the team who typically records his own voiceovers. Two were WellSaid Labs voice avatar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y were circulated through the team for evaluation and received positive feedback.</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With AI voice avatars, the Educational Programs producers had access to the voice they used previously</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y received better ROI from faster edits and more consistency, along with team’s satisfaction with the voice quality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y could get their updates out faster. A change is updated in their LMS within 24 hours. That used to take multiple recordings and review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IT</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699526"/>
            <a:ext cx="1159984"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WellSaid Labs</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506388"/>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Qual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7AA0770E-0B58-AD0B-6397-37592F6178CD}"/>
              </a:ext>
            </a:extLst>
          </p:cNvPr>
          <p:cNvSpPr txBox="1"/>
          <p:nvPr/>
        </p:nvSpPr>
        <p:spPr>
          <a:xfrm>
            <a:off x="4020412" y="6018210"/>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t>: </a:t>
            </a:r>
            <a:r>
              <a:rPr lang="en-US" sz="1000">
                <a:hlinkClick r:id="rId6"/>
              </a:rPr>
              <a:t>https://wellsaidlabs.com/blog/case-study-snowflake-transforms-voiceover-creation</a:t>
            </a:r>
            <a:endParaRPr lang="en-US" sz="1000"/>
          </a:p>
          <a:p>
            <a:pPr defTabSz="914400">
              <a:lnSpc>
                <a:spcPct val="90000"/>
              </a:lnSpc>
              <a:defRPr/>
            </a:pPr>
            <a:r>
              <a:rPr lang="en-US" sz="1000" b="1"/>
              <a:t>Client/Other Source</a:t>
            </a:r>
          </a:p>
          <a:p>
            <a:pPr defTabSz="914400">
              <a:lnSpc>
                <a:spcPct val="90000"/>
              </a:lnSpc>
              <a:defRPr/>
            </a:pPr>
            <a:r>
              <a:rPr lang="en-US" sz="1000" b="1"/>
              <a:t>Publish Date: 7/2023</a:t>
            </a:r>
            <a:endParaRPr lang="en-US" sz="1000"/>
          </a:p>
          <a:p>
            <a:pPr defTabSz="914400">
              <a:lnSpc>
                <a:spcPct val="90000"/>
              </a:lnSpc>
              <a:defRPr/>
            </a:pPr>
            <a:r>
              <a:rPr lang="en-US" sz="1000"/>
              <a:t> </a:t>
            </a:r>
          </a:p>
        </p:txBody>
      </p:sp>
      <p:sp>
        <p:nvSpPr>
          <p:cNvPr id="2" name="TextBox 1">
            <a:extLst>
              <a:ext uri="{FF2B5EF4-FFF2-40B4-BE49-F238E27FC236}">
                <a16:creationId xmlns:a16="http://schemas.microsoft.com/office/drawing/2014/main" id="{BA1F7A95-411D-3B0C-5C5C-A6048FD4E861}"/>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047A66B5-097B-3306-39B0-9C455D4B2B0B}"/>
              </a:ext>
            </a:extLst>
          </p:cNvPr>
          <p:cNvSpPr txBox="1"/>
          <p:nvPr/>
        </p:nvSpPr>
        <p:spPr>
          <a:xfrm>
            <a:off x="2190187" y="1695009"/>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Snowflake</a:t>
            </a:r>
          </a:p>
        </p:txBody>
      </p:sp>
      <p:sp>
        <p:nvSpPr>
          <p:cNvPr id="15" name="TextBox 14">
            <a:extLst>
              <a:ext uri="{FF2B5EF4-FFF2-40B4-BE49-F238E27FC236}">
                <a16:creationId xmlns:a16="http://schemas.microsoft.com/office/drawing/2014/main" id="{E640C6C0-B0E4-9C8A-AB86-4F649EA4DB1A}"/>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4AD718AF-69AE-C0B3-7FD1-2FFE579009F5}"/>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Voice Content Gener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483580F8-9B7B-10C0-8D4F-B0B55BC5995B}"/>
              </a:ext>
            </a:extLst>
          </p:cNvPr>
          <p:cNvSpPr txBox="1"/>
          <p:nvPr/>
        </p:nvSpPr>
        <p:spPr>
          <a:xfrm>
            <a:off x="9932801" y="5930259"/>
            <a:ext cx="1665521" cy="338554"/>
          </a:xfrm>
          <a:prstGeom prst="rect">
            <a:avLst/>
          </a:prstGeom>
          <a:noFill/>
        </p:spPr>
        <p:txBody>
          <a:bodyPr wrap="none" lIns="0" rIns="0" rtlCol="0">
            <a:spAutoFit/>
          </a:bodyPr>
          <a:lstStyle/>
          <a:p>
            <a:pPr algn="l">
              <a:spcBef>
                <a:spcPts val="600"/>
              </a:spcBef>
            </a:pPr>
            <a:r>
              <a:rPr lang="en-US" sz="1600"/>
              <a:t>Case Study ID: 10</a:t>
            </a:r>
          </a:p>
        </p:txBody>
      </p:sp>
    </p:spTree>
    <p:extLst>
      <p:ext uri="{BB962C8B-B14F-4D97-AF65-F5344CB8AC3E}">
        <p14:creationId xmlns:p14="http://schemas.microsoft.com/office/powerpoint/2010/main" val="397875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257E0-F739-DD58-C0B7-649C78D50C4E}"/>
              </a:ext>
            </a:extLst>
          </p:cNvPr>
          <p:cNvSpPr>
            <a:spLocks noGrp="1"/>
          </p:cNvSpPr>
          <p:nvPr>
            <p:ph type="title"/>
          </p:nvPr>
        </p:nvSpPr>
        <p:spPr/>
        <p:txBody>
          <a:bodyPr/>
          <a:lstStyle/>
          <a:p>
            <a:r>
              <a:rPr lang="en-US"/>
              <a:t>Drug Discovery</a:t>
            </a:r>
          </a:p>
        </p:txBody>
      </p:sp>
      <p:sp>
        <p:nvSpPr>
          <p:cNvPr id="4" name="TextBox 3">
            <a:extLst>
              <a:ext uri="{FF2B5EF4-FFF2-40B4-BE49-F238E27FC236}">
                <a16:creationId xmlns:a16="http://schemas.microsoft.com/office/drawing/2014/main" id="{7FA66D0E-9D38-408F-C8D8-BEC6100CDEDA}"/>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37376774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err="1">
                <a:solidFill>
                  <a:srgbClr val="172A54"/>
                </a:solidFill>
                <a:latin typeface="Arial Black"/>
                <a:ea typeface="Arial Black"/>
                <a:cs typeface="Arial Black"/>
                <a:sym typeface="Arial Black"/>
              </a:rPr>
              <a:t>Absci</a:t>
            </a:r>
            <a:r>
              <a:rPr lang="en-US" sz="3200" b="1" kern="0">
                <a:solidFill>
                  <a:srgbClr val="172A54"/>
                </a:solidFill>
                <a:latin typeface="Arial Black"/>
                <a:ea typeface="Arial Black"/>
                <a:cs typeface="Arial Black"/>
                <a:sym typeface="Arial Black"/>
              </a:rPr>
              <a:t> creates and validates De Novo antibodies with zero-shot generative AI</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It’s a slow, arduous process to bring a safe, effective drug to the market. Biologic drug discovery is risky, time-consuming, and expensive, with a &gt;90% failure rate. It takes an average of 10 years and &gt;$1 billion to bring just one new drug to market, limiting the scope and number of treatments that drugmakers can pursue.</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algn="just" defTabSz="914400">
              <a:buClr>
                <a:srgbClr val="000000"/>
              </a:buClr>
            </a:pPr>
            <a:r>
              <a:rPr lang="en-US" sz="1400" kern="0" err="1">
                <a:solidFill>
                  <a:srgbClr val="000000"/>
                </a:solidFill>
                <a:cs typeface="Arial"/>
                <a:sym typeface="Arial"/>
              </a:rPr>
              <a:t>Absci</a:t>
            </a:r>
            <a:r>
              <a:rPr lang="en-US" sz="1400" kern="0">
                <a:solidFill>
                  <a:srgbClr val="000000"/>
                </a:solidFill>
                <a:cs typeface="Arial"/>
                <a:sym typeface="Arial"/>
              </a:rPr>
              <a:t> used zero-shot generative AI — a method that involves designing antibodies to bind to specific targets without using any training data of antibodies known to bind those specific targets. </a:t>
            </a:r>
            <a:r>
              <a:rPr lang="en-US" sz="1400" kern="0" err="1">
                <a:solidFill>
                  <a:srgbClr val="000000"/>
                </a:solidFill>
                <a:cs typeface="Arial"/>
                <a:sym typeface="Arial"/>
              </a:rPr>
              <a:t>Absci’s</a:t>
            </a:r>
            <a:r>
              <a:rPr lang="en-US" sz="1400" kern="0">
                <a:solidFill>
                  <a:srgbClr val="000000"/>
                </a:solidFill>
                <a:cs typeface="Arial"/>
                <a:sym typeface="Arial"/>
              </a:rPr>
              <a:t> model produced antibody designs that were unlike those found in existing antibody databases, and the zero-shot designs worked in the lab right out of the computer — without the slow and costly step of further optimizing the in silico designs in the lab.</a:t>
            </a:r>
            <a:endParaRPr lang="en-IN" sz="1400" b="1" kern="0">
              <a:solidFill>
                <a:srgbClr val="000000"/>
              </a:solidFill>
              <a:cs typeface="Arial"/>
              <a:sym typeface="Arial"/>
            </a:endParaRP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algn="just" defTabSz="914400">
              <a:buClr>
                <a:srgbClr val="000000"/>
              </a:buClr>
            </a:pPr>
            <a:r>
              <a:rPr lang="en-US" sz="1400" kern="0" err="1">
                <a:solidFill>
                  <a:srgbClr val="000000"/>
                </a:solidFill>
                <a:cs typeface="Arial"/>
                <a:sym typeface="Arial"/>
              </a:rPr>
              <a:t>Absci's</a:t>
            </a:r>
            <a:r>
              <a:rPr lang="en-US" sz="1400" kern="0">
                <a:solidFill>
                  <a:srgbClr val="000000"/>
                </a:solidFill>
                <a:cs typeface="Arial"/>
                <a:sym typeface="Arial"/>
              </a:rPr>
              <a:t> AI-led De Novo Antibodies process significantly improves drug discovery efficiency and patient outcomes. Zero-Shot generative AI reduces lead time from 10 years to 18-24 months, increasing clinical succes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33937" y="1252813"/>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697363"/>
            <a:ext cx="2034083" cy="523220"/>
          </a:xfrm>
          <a:prstGeom prst="rect">
            <a:avLst/>
          </a:prstGeom>
          <a:noFill/>
        </p:spPr>
        <p:txBody>
          <a:bodyPr wrap="square" rtlCol="0">
            <a:spAutoFit/>
          </a:bodyPr>
          <a:lstStyle/>
          <a:p>
            <a:pPr defTabSz="914400">
              <a:buClr>
                <a:srgbClr val="000000"/>
              </a:buClr>
              <a:defRPr/>
            </a:pPr>
            <a:r>
              <a:rPr kumimoji="0" lang="en-US" sz="1400" b="0" i="0" u="none" strike="noStrike" kern="0" cap="none" spc="0" normalizeH="0" baseline="0" noProof="0">
                <a:ln>
                  <a:noFill/>
                </a:ln>
                <a:solidFill>
                  <a:srgbClr val="000000"/>
                </a:solidFill>
                <a:effectLst/>
                <a:uLnTx/>
                <a:uFillTx/>
                <a:cs typeface="Arial"/>
                <a:sym typeface="Arial"/>
              </a:rPr>
              <a:t>Healthcare and Life science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100896" y="1669871"/>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Absci</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High</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Innovation</a:t>
            </a: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Game Changing Value: Industry Transformation</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Upend</a:t>
            </a:r>
          </a:p>
        </p:txBody>
      </p:sp>
      <p:sp>
        <p:nvSpPr>
          <p:cNvPr id="3" name="TextBox 2">
            <a:extLst>
              <a:ext uri="{FF2B5EF4-FFF2-40B4-BE49-F238E27FC236}">
                <a16:creationId xmlns:a16="http://schemas.microsoft.com/office/drawing/2014/main" id="{5F8ECE67-9150-B495-1B71-1AAC4688FD61}"/>
              </a:ext>
            </a:extLst>
          </p:cNvPr>
          <p:cNvSpPr txBox="1"/>
          <p:nvPr/>
        </p:nvSpPr>
        <p:spPr>
          <a:xfrm>
            <a:off x="3869619" y="5972111"/>
            <a:ext cx="6554541" cy="1061829"/>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endParaRPr lang="en-US" sz="1000" b="1"/>
          </a:p>
          <a:p>
            <a:pPr defTabSz="914400">
              <a:lnSpc>
                <a:spcPct val="90000"/>
              </a:lnSpc>
              <a:defRPr/>
            </a:pPr>
            <a:r>
              <a:rPr lang="en-US" sz="1000" b="1"/>
              <a:t>Client/Other Source: </a:t>
            </a:r>
            <a:r>
              <a:rPr lang="en-US" sz="1000">
                <a:hlinkClick r:id="rId6"/>
              </a:rPr>
              <a:t>https://investors.absci.com/news-releases/news-release-details/absci-first-create-and-validate-de-novo-antibodies-zero-shot</a:t>
            </a:r>
            <a:r>
              <a:rPr lang="en-US" sz="1000"/>
              <a:t> </a:t>
            </a:r>
          </a:p>
          <a:p>
            <a:pPr defTabSz="914400">
              <a:lnSpc>
                <a:spcPct val="90000"/>
              </a:lnSpc>
              <a:defRPr/>
            </a:pPr>
            <a:r>
              <a:rPr lang="en-US" sz="1000">
                <a:hlinkClick r:id="rId7"/>
              </a:rPr>
              <a:t>https://www.absci.com/absci-achieves-a-breakthrough-in-ai-drug-creation/</a:t>
            </a:r>
            <a:endParaRPr lang="en-US" sz="1000"/>
          </a:p>
          <a:p>
            <a:pPr defTabSz="914400">
              <a:lnSpc>
                <a:spcPct val="90000"/>
              </a:lnSpc>
              <a:defRPr/>
            </a:pPr>
            <a:r>
              <a:rPr lang="en-US" sz="1000" b="1"/>
              <a:t>Publish Date: </a:t>
            </a:r>
            <a:r>
              <a:rPr lang="en-US" sz="1000"/>
              <a:t>10/2023</a:t>
            </a:r>
          </a:p>
          <a:p>
            <a:pPr defTabSz="914400">
              <a:lnSpc>
                <a:spcPct val="90000"/>
              </a:lnSpc>
              <a:defRPr/>
            </a:pPr>
            <a:endParaRPr lang="en-US" sz="1000"/>
          </a:p>
        </p:txBody>
      </p:sp>
      <p:sp>
        <p:nvSpPr>
          <p:cNvPr id="2" name="TextBox 1">
            <a:extLst>
              <a:ext uri="{FF2B5EF4-FFF2-40B4-BE49-F238E27FC236}">
                <a16:creationId xmlns:a16="http://schemas.microsoft.com/office/drawing/2014/main" id="{6E14E70B-DB8E-28E2-BDD4-3E31E15D3C77}"/>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2" name="TextBox 11">
            <a:extLst>
              <a:ext uri="{FF2B5EF4-FFF2-40B4-BE49-F238E27FC236}">
                <a16:creationId xmlns:a16="http://schemas.microsoft.com/office/drawing/2014/main" id="{B7CE6387-5312-426B-EF1B-E1831C678202}"/>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Drug Discovery</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4" name="TextBox 13">
            <a:extLst>
              <a:ext uri="{FF2B5EF4-FFF2-40B4-BE49-F238E27FC236}">
                <a16:creationId xmlns:a16="http://schemas.microsoft.com/office/drawing/2014/main" id="{9B6BC91C-F297-F5EB-1219-76C82935059F}"/>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20</a:t>
            </a:r>
          </a:p>
        </p:txBody>
      </p:sp>
    </p:spTree>
    <p:extLst>
      <p:ext uri="{BB962C8B-B14F-4D97-AF65-F5344CB8AC3E}">
        <p14:creationId xmlns:p14="http://schemas.microsoft.com/office/powerpoint/2010/main" val="1968155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Insilico Medicine uses Pharma.AI to create first drug discovered and designed with generative AI</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b="0" i="0" u="none" strike="noStrike">
                <a:solidFill>
                  <a:srgbClr val="000000"/>
                </a:solidFill>
                <a:effectLst/>
                <a:latin typeface="Arial" panose="020B0604020202020204" pitchFamily="34" charset="0"/>
              </a:rPr>
              <a:t>Insilico Medicine has completed the first dose of INS018_055, the world's first anti-fibrotic small molecule inhibitor, in Phase II clinical trials, marking a significant advancement in AI-driven drug development. INS018_055 is fully delivered by generative AI.</a:t>
            </a:r>
            <a:endParaRPr lang="en-US" sz="1300" kern="0">
              <a:solidFill>
                <a:srgbClr val="000000"/>
              </a:solidFill>
              <a:cs typeface="Arial"/>
              <a:sym typeface="Arial"/>
            </a:endParaRP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Insilico has announced 12 preclinical candidates for internal drug discovery programs since 2021, with 3 advanced into human clinical trials. A randomized, double-blind, placebo-controlled trial is being conducted to assess the safety, tolerability, pharmacokinetics, and preliminary efficacy of a 12-week oral INS018_055 dosage in subjects with IPF, with further evaluation in wider populations.</a:t>
            </a:r>
            <a:endParaRPr lang="en-IN" sz="1400" b="1" kern="0">
              <a:solidFill>
                <a:srgbClr val="000000"/>
              </a:solidFill>
              <a:cs typeface="Arial"/>
              <a:sym typeface="Arial"/>
            </a:endParaRP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9478" y="4893435"/>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Insilico has developed and validated multiple approaches for its GAN-based AI platform, which has been integrated into the Pharma.AI platform. Since 2021, Insilico has nominated and announced 12 preclinical candidates in its portfolio of over 30 assets, with 3 of them advanced to the clinical stage.</a:t>
            </a:r>
            <a:endParaRPr lang="en-US" sz="1400" b="1" kern="0">
              <a:solidFill>
                <a:srgbClr val="00000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14616"/>
            <a:ext cx="2214689" cy="523220"/>
          </a:xfrm>
          <a:prstGeom prst="rect">
            <a:avLst/>
          </a:prstGeom>
          <a:noFill/>
        </p:spPr>
        <p:txBody>
          <a:bodyPr wrap="square" rtlCol="0">
            <a:spAutoFit/>
          </a:bodyPr>
          <a:lstStyle/>
          <a:p>
            <a:pPr defTabSz="914400">
              <a:buClr>
                <a:srgbClr val="000000"/>
              </a:buClr>
              <a:defRPr/>
            </a:pPr>
            <a:r>
              <a:rPr kumimoji="0" lang="en-US" sz="1400" b="0" i="0" u="none" strike="noStrike" kern="0" cap="none" spc="0" normalizeH="0" baseline="0" noProof="0">
                <a:ln>
                  <a:noFill/>
                </a:ln>
                <a:solidFill>
                  <a:srgbClr val="000000"/>
                </a:solidFill>
                <a:effectLst/>
                <a:uLnTx/>
                <a:uFillTx/>
                <a:cs typeface="Arial"/>
                <a:sym typeface="Arial"/>
              </a:rPr>
              <a:t>Healthcare and Life science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54390"/>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Pharma.AI</a:t>
            </a:r>
            <a:endParaRPr lang="en-US" sz="1400" b="1" kern="0">
              <a:solidFill>
                <a:srgbClr val="000000"/>
              </a:solidFill>
              <a:cs typeface="Arial"/>
              <a:sym typeface="Arial"/>
            </a:endParaRPr>
          </a:p>
        </p:txBody>
      </p:sp>
      <p:sp>
        <p:nvSpPr>
          <p:cNvPr id="760" name="TextBox 759">
            <a:extLst>
              <a:ext uri="{FF2B5EF4-FFF2-40B4-BE49-F238E27FC236}">
                <a16:creationId xmlns:a16="http://schemas.microsoft.com/office/drawing/2014/main" id="{16F0A96B-3D1E-E8DF-AC52-46F2C43A756E}"/>
              </a:ext>
            </a:extLst>
          </p:cNvPr>
          <p:cNvSpPr txBox="1"/>
          <p:nvPr/>
        </p:nvSpPr>
        <p:spPr>
          <a:xfrm>
            <a:off x="2132126" y="1688006"/>
            <a:ext cx="1505115"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Insilico Medicine</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High</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Innovation</a:t>
            </a: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Game Changing Value: Industry Transformation</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Upend</a:t>
            </a:r>
          </a:p>
        </p:txBody>
      </p:sp>
      <p:sp>
        <p:nvSpPr>
          <p:cNvPr id="12" name="TextBox 11">
            <a:extLst>
              <a:ext uri="{FF2B5EF4-FFF2-40B4-BE49-F238E27FC236}">
                <a16:creationId xmlns:a16="http://schemas.microsoft.com/office/drawing/2014/main" id="{1E4ED787-611F-F622-7C1D-EFBE498C6613}"/>
              </a:ext>
            </a:extLst>
          </p:cNvPr>
          <p:cNvSpPr txBox="1"/>
          <p:nvPr/>
        </p:nvSpPr>
        <p:spPr>
          <a:xfrm>
            <a:off x="3869618" y="6060349"/>
            <a:ext cx="6554541" cy="9233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www.prnewswire.com/apac/news-releases/first-drug-discovered-and-designed-with-generative-ai-enters-phase-ii-trials-with-first-patients-dosed-301862737.html</a:t>
            </a:r>
            <a:r>
              <a:rPr lang="en-US" sz="1000"/>
              <a:t>, </a:t>
            </a:r>
            <a:r>
              <a:rPr lang="en-US" sz="1000">
                <a:hlinkClick r:id="rId7"/>
              </a:rPr>
              <a:t>https://www.eurekalert.org/news-releases/993844</a:t>
            </a:r>
            <a:endParaRPr lang="en-US" sz="1000" b="1"/>
          </a:p>
          <a:p>
            <a:pPr defTabSz="914400">
              <a:lnSpc>
                <a:spcPct val="90000"/>
              </a:lnSpc>
              <a:defRPr/>
            </a:pPr>
            <a:r>
              <a:rPr lang="en-US" sz="1000" b="1"/>
              <a:t>Publish Date: 6</a:t>
            </a:r>
            <a:r>
              <a:rPr lang="en-US" sz="1000"/>
              <a:t>/2023</a:t>
            </a:r>
          </a:p>
          <a:p>
            <a:pPr defTabSz="914400">
              <a:lnSpc>
                <a:spcPct val="90000"/>
              </a:lnSpc>
              <a:defRPr/>
            </a:pPr>
            <a:endParaRPr lang="en-US" sz="1000"/>
          </a:p>
        </p:txBody>
      </p:sp>
      <p:sp>
        <p:nvSpPr>
          <p:cNvPr id="2" name="TextBox 1">
            <a:extLst>
              <a:ext uri="{FF2B5EF4-FFF2-40B4-BE49-F238E27FC236}">
                <a16:creationId xmlns:a16="http://schemas.microsoft.com/office/drawing/2014/main" id="{2DFE25B5-1E22-F815-7A71-56BC06711438}"/>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D59A4263-1225-EF03-1315-98E6B3B9B0A5}"/>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E6B64286-DC11-AC22-450D-38F2BDE59AFD}"/>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Drug Discovery</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D7418B03-91A9-3844-A87C-2446F2F4AE58}"/>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76</a:t>
            </a:r>
          </a:p>
        </p:txBody>
      </p:sp>
    </p:spTree>
    <p:extLst>
      <p:ext uri="{BB962C8B-B14F-4D97-AF65-F5344CB8AC3E}">
        <p14:creationId xmlns:p14="http://schemas.microsoft.com/office/powerpoint/2010/main" val="17248206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257E0-F739-DD58-C0B7-649C78D50C4E}"/>
              </a:ext>
            </a:extLst>
          </p:cNvPr>
          <p:cNvSpPr>
            <a:spLocks noGrp="1"/>
          </p:cNvSpPr>
          <p:nvPr>
            <p:ph type="title"/>
          </p:nvPr>
        </p:nvSpPr>
        <p:spPr/>
        <p:txBody>
          <a:bodyPr/>
          <a:lstStyle/>
          <a:p>
            <a:r>
              <a:rPr lang="en-US"/>
              <a:t>Financial Assistants</a:t>
            </a:r>
          </a:p>
        </p:txBody>
      </p:sp>
      <p:sp>
        <p:nvSpPr>
          <p:cNvPr id="4" name="TextBox 3">
            <a:extLst>
              <a:ext uri="{FF2B5EF4-FFF2-40B4-BE49-F238E27FC236}">
                <a16:creationId xmlns:a16="http://schemas.microsoft.com/office/drawing/2014/main" id="{A1E882D4-3544-BF57-1B7D-004296FC4E62}"/>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6112905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000" b="1" kern="0">
                <a:solidFill>
                  <a:srgbClr val="172A54"/>
                </a:solidFill>
                <a:latin typeface="Arial Black"/>
                <a:ea typeface="Arial Black"/>
                <a:cs typeface="Arial Black"/>
                <a:sym typeface="Arial Black"/>
              </a:rPr>
              <a:t>BloombergGPT, Bloomberg’s 50-billion-parameter large language model, purpose-built from scratch for finance </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892552"/>
          </a:xfrm>
          <a:prstGeom prst="rect">
            <a:avLst/>
          </a:prstGeom>
          <a:noFill/>
        </p:spPr>
        <p:txBody>
          <a:bodyPr wrap="square" rtlCol="0">
            <a:spAutoFit/>
          </a:bodyPr>
          <a:lstStyle/>
          <a:p>
            <a:pPr algn="just" defTabSz="914400">
              <a:buClr>
                <a:srgbClr val="000000"/>
              </a:buClr>
            </a:pPr>
            <a:r>
              <a:rPr lang="en-US" sz="1300" kern="0">
                <a:solidFill>
                  <a:srgbClr val="000000"/>
                </a:solidFill>
                <a:cs typeface="Arial"/>
                <a:sym typeface="Arial"/>
              </a:rPr>
              <a:t>BloombergGPT represents the first step in the development and application of this Generative AI technology for the financial industry. This model will assist Bloomberg in improving existing financial NLP tasks, such as sentiment analysis, named entity recognition, news classification, and question answering, among other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092607"/>
          </a:xfrm>
          <a:prstGeom prst="rect">
            <a:avLst/>
          </a:prstGeom>
          <a:noFill/>
        </p:spPr>
        <p:txBody>
          <a:bodyPr wrap="square" rtlCol="0">
            <a:spAutoFit/>
          </a:bodyPr>
          <a:lstStyle/>
          <a:p>
            <a:pPr algn="just" defTabSz="914400">
              <a:buClr>
                <a:srgbClr val="000000"/>
              </a:buClr>
            </a:pPr>
            <a:r>
              <a:rPr lang="en-US" sz="1300" kern="0">
                <a:solidFill>
                  <a:srgbClr val="000000"/>
                </a:solidFill>
                <a:cs typeface="Arial"/>
                <a:sym typeface="Arial"/>
              </a:rPr>
              <a:t>A custom LLM was developed using Bloomberg and financial data to create a 363 billion token dataset of English financial documents. This dataset was combined with a 345 billion token public dataset to create a large training corpus of over 700 billion tokens. The team trained a 50-billion parameter decoder-only causal language model using this corpus, which was validated on finance-specific NLP benchmarks, Bloomberg internal benchmarks, and general-purpose NLP tasks.</a:t>
            </a:r>
            <a:endParaRPr lang="en-IN" sz="1300" b="1" kern="0">
              <a:solidFill>
                <a:srgbClr val="000000"/>
              </a:solidFill>
              <a:cs typeface="Arial"/>
              <a:sym typeface="Arial"/>
            </a:endParaRP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0412" y="4904139"/>
            <a:ext cx="7954975" cy="10926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Better user experience</a:t>
            </a:r>
          </a:p>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Better information available to the user</a:t>
            </a:r>
          </a:p>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More empowerment to the users</a:t>
            </a:r>
          </a:p>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Junior employees can come up to speed faster</a:t>
            </a:r>
          </a:p>
          <a:p>
            <a:pPr marL="285750" indent="-285750" algn="just" defTabSz="914400">
              <a:buClr>
                <a:srgbClr val="000000"/>
              </a:buClr>
              <a:buFont typeface="Arial" panose="020B0604020202020204" pitchFamily="34" charset="0"/>
              <a:buChar char="•"/>
            </a:pPr>
            <a:r>
              <a:rPr lang="en-US" sz="1300" kern="0">
                <a:solidFill>
                  <a:srgbClr val="000000"/>
                </a:solidFill>
                <a:cs typeface="Arial"/>
                <a:sym typeface="Arial"/>
              </a:rPr>
              <a:t>Hypothesis testing becomes much easier</a:t>
            </a:r>
            <a:endParaRPr lang="en-US" sz="1300" b="1" kern="0">
              <a:solidFill>
                <a:srgbClr val="00000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40565" y="1242361"/>
            <a:ext cx="1463028" cy="30777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Financial Service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44845"/>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Bloomberg</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High</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5"/>
            <a:ext cx="260877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Customer Acquisition, Retention and Productiv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8" name="TextBox 7">
            <a:extLst>
              <a:ext uri="{FF2B5EF4-FFF2-40B4-BE49-F238E27FC236}">
                <a16:creationId xmlns:a16="http://schemas.microsoft.com/office/drawing/2014/main" id="{BF257091-055C-FDF5-68FA-9362AA942A23}"/>
              </a:ext>
            </a:extLst>
          </p:cNvPr>
          <p:cNvSpPr txBox="1"/>
          <p:nvPr/>
        </p:nvSpPr>
        <p:spPr>
          <a:xfrm>
            <a:off x="3869618" y="5956835"/>
            <a:ext cx="6554541" cy="1061829"/>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www.bloomberg.com/company/press/bloomberggpt-50-billion-parameter-llm-tuned-finance/#:~:text=BloombergGPT%20represents%20the%20first%20step,and%20question%20answering%2C%20among%20others</a:t>
            </a:r>
            <a:r>
              <a:rPr lang="en-US" sz="1000"/>
              <a:t>. </a:t>
            </a:r>
          </a:p>
          <a:p>
            <a:pPr defTabSz="914400">
              <a:lnSpc>
                <a:spcPct val="90000"/>
              </a:lnSpc>
              <a:defRPr/>
            </a:pPr>
            <a:r>
              <a:rPr lang="en-US" sz="1000" b="1"/>
              <a:t>Client/Other Source: </a:t>
            </a:r>
            <a:r>
              <a:rPr lang="en-US" sz="1000">
                <a:hlinkClick r:id="rId7"/>
              </a:rPr>
              <a:t>https://www.bloomberg.com/company/press/bloomberggpt-50-billion-parameter-llm-tuned-finance/, </a:t>
            </a:r>
            <a:r>
              <a:rPr lang="en-US" sz="1000">
                <a:hlinkClick r:id="rId8"/>
              </a:rPr>
              <a:t>https://arxiv.org/abs/2303.17564</a:t>
            </a:r>
            <a:endParaRPr lang="en-US" sz="1000"/>
          </a:p>
          <a:p>
            <a:pPr defTabSz="914400">
              <a:lnSpc>
                <a:spcPct val="90000"/>
              </a:lnSpc>
              <a:defRPr/>
            </a:pPr>
            <a:r>
              <a:rPr lang="en-US" sz="1000" b="1"/>
              <a:t>Publish Date: 3/</a:t>
            </a:r>
            <a:r>
              <a:rPr lang="en-US" sz="1000"/>
              <a:t>2023</a:t>
            </a:r>
          </a:p>
          <a:p>
            <a:pPr defTabSz="914400">
              <a:lnSpc>
                <a:spcPct val="90000"/>
              </a:lnSpc>
              <a:defRPr/>
            </a:pPr>
            <a:endParaRPr lang="en-US" sz="1000"/>
          </a:p>
        </p:txBody>
      </p:sp>
      <p:sp>
        <p:nvSpPr>
          <p:cNvPr id="2" name="TextBox 1">
            <a:extLst>
              <a:ext uri="{FF2B5EF4-FFF2-40B4-BE49-F238E27FC236}">
                <a16:creationId xmlns:a16="http://schemas.microsoft.com/office/drawing/2014/main" id="{3A843221-D1C9-AB8D-A526-BCF0B9C08A77}"/>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2" name="TextBox 11">
            <a:extLst>
              <a:ext uri="{FF2B5EF4-FFF2-40B4-BE49-F238E27FC236}">
                <a16:creationId xmlns:a16="http://schemas.microsoft.com/office/drawing/2014/main" id="{6A6F8279-B3ED-6087-0A86-5EAF83A81DE6}"/>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Financial Assista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4" name="TextBox 13">
            <a:extLst>
              <a:ext uri="{FF2B5EF4-FFF2-40B4-BE49-F238E27FC236}">
                <a16:creationId xmlns:a16="http://schemas.microsoft.com/office/drawing/2014/main" id="{9827DD99-47FC-7474-3517-0CBFC5D7ED08}"/>
              </a:ext>
            </a:extLst>
          </p:cNvPr>
          <p:cNvSpPr txBox="1"/>
          <p:nvPr/>
        </p:nvSpPr>
        <p:spPr>
          <a:xfrm>
            <a:off x="10044945" y="5916868"/>
            <a:ext cx="1665521" cy="338554"/>
          </a:xfrm>
          <a:prstGeom prst="rect">
            <a:avLst/>
          </a:prstGeom>
          <a:noFill/>
        </p:spPr>
        <p:txBody>
          <a:bodyPr wrap="none" lIns="0" rIns="0" rtlCol="0">
            <a:spAutoFit/>
          </a:bodyPr>
          <a:lstStyle/>
          <a:p>
            <a:pPr algn="l">
              <a:spcBef>
                <a:spcPts val="600"/>
              </a:spcBef>
            </a:pPr>
            <a:r>
              <a:rPr lang="en-US" sz="1600"/>
              <a:t>Case Study ID: 21</a:t>
            </a:r>
          </a:p>
        </p:txBody>
      </p:sp>
    </p:spTree>
    <p:extLst>
      <p:ext uri="{BB962C8B-B14F-4D97-AF65-F5344CB8AC3E}">
        <p14:creationId xmlns:p14="http://schemas.microsoft.com/office/powerpoint/2010/main" val="40850551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Enhanced risk, data, analytics, research and collaboration solution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Microsoft and Moody’s are co-creating “Moody’s CoPilot”, for research and risk assessment, built on Azure OpenAI. Moody's CoPilot delivers Enhanced corporate intelligence and risk assessment insights to Moody's 14,000 internal employee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3" y="3022129"/>
            <a:ext cx="7911128" cy="1384995"/>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Moody's CoPilot is a digital tool that combines Moody's data, analytics, and research with Microsoft's AI technology. It helps drive innovation and enhance employee productivity in a secure digital environment. Its applications include reference data, risk assessment, and supply chain management. The tool also offers a "Moody's Research Assistant" for comprehensive risk views and can generate detailed company/sector analyses. It streamlines workflows and consolidates data from diverse data set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Boosts firm-wide innovation &amp; employee productivity, enhances collaboration, productivity, communication, and compliance,</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Activation of their employees to spark new innovations. For Copilot: Improved insights, productivity, compliance, and user experience.</a:t>
            </a:r>
            <a:endParaRPr lang="en-US" sz="1400" b="1" kern="0">
              <a:solidFill>
                <a:srgbClr val="00000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defTabSz="914400">
              <a:buClr>
                <a:srgbClr val="000000"/>
              </a:buClr>
              <a:defRPr/>
            </a:pPr>
            <a:r>
              <a:rPr kumimoji="0" lang="en-US" sz="1400" b="0" i="0" u="none" strike="noStrike" kern="0" cap="none" spc="0" normalizeH="0" baseline="0" noProof="0">
                <a:ln>
                  <a:noFill/>
                </a:ln>
                <a:solidFill>
                  <a:srgbClr val="000000"/>
                </a:solidFill>
                <a:effectLst/>
                <a:uLnTx/>
                <a:uFillTx/>
                <a:cs typeface="Arial"/>
                <a:sym typeface="Arial"/>
              </a:rPr>
              <a:t>Financial Service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91440" y="1662950"/>
            <a:ext cx="1632049"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Microsoft Azure OpenAI Service</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5"/>
            <a:ext cx="2520000" cy="497761"/>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Compliance,  User Experience</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B214ABD9-2CF2-ED56-9C52-B2B99F8357C1}"/>
              </a:ext>
            </a:extLst>
          </p:cNvPr>
          <p:cNvSpPr txBox="1"/>
          <p:nvPr/>
        </p:nvSpPr>
        <p:spPr>
          <a:xfrm>
            <a:off x="3869619" y="5904988"/>
            <a:ext cx="6554541" cy="1061829"/>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news.microsoft.com/2023/06/29/moodys-and-microsoft-develop-enhanced-risk-data-analytics-research-and-collaboration-solutions-powered-by-generative-ai/</a:t>
            </a:r>
            <a:r>
              <a:rPr lang="en-US" sz="1000"/>
              <a:t>, </a:t>
            </a:r>
            <a:r>
              <a:rPr lang="en-US" sz="1000">
                <a:hlinkClick r:id="rId6"/>
              </a:rPr>
              <a:t>https://news.microsoft.com/2023/06/29/moodys-and-microsoft-develop-enhanced-risk-data-analytics-research-and-collaboration-solutions-powered-by-generative-ai/</a:t>
            </a:r>
            <a:endParaRPr lang="en-US" sz="1000"/>
          </a:p>
          <a:p>
            <a:pPr defTabSz="914400">
              <a:lnSpc>
                <a:spcPct val="90000"/>
              </a:lnSpc>
              <a:defRPr/>
            </a:pPr>
            <a:r>
              <a:rPr lang="en-US" sz="1000" b="1"/>
              <a:t>Publish Date: 6/</a:t>
            </a:r>
            <a:r>
              <a:rPr lang="en-US" sz="1000"/>
              <a:t>2023</a:t>
            </a:r>
          </a:p>
          <a:p>
            <a:pPr defTabSz="914400">
              <a:lnSpc>
                <a:spcPct val="90000"/>
              </a:lnSpc>
              <a:defRPr/>
            </a:pPr>
            <a:endParaRPr lang="en-US" sz="1000"/>
          </a:p>
        </p:txBody>
      </p:sp>
      <p:sp>
        <p:nvSpPr>
          <p:cNvPr id="2" name="TextBox 1">
            <a:extLst>
              <a:ext uri="{FF2B5EF4-FFF2-40B4-BE49-F238E27FC236}">
                <a16:creationId xmlns:a16="http://schemas.microsoft.com/office/drawing/2014/main" id="{3E69928F-CBF8-D24E-4F87-776B5988C1C7}"/>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6A4626E8-8B3D-39B2-E635-798DCAD76827}"/>
              </a:ext>
            </a:extLst>
          </p:cNvPr>
          <p:cNvSpPr txBox="1"/>
          <p:nvPr/>
        </p:nvSpPr>
        <p:spPr>
          <a:xfrm>
            <a:off x="2229933" y="1660795"/>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Moody’s</a:t>
            </a:r>
          </a:p>
        </p:txBody>
      </p:sp>
      <p:sp>
        <p:nvSpPr>
          <p:cNvPr id="14" name="TextBox 13">
            <a:extLst>
              <a:ext uri="{FF2B5EF4-FFF2-40B4-BE49-F238E27FC236}">
                <a16:creationId xmlns:a16="http://schemas.microsoft.com/office/drawing/2014/main" id="{B5A23C60-A2B6-3CCE-AF23-7F47169F167B}"/>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7825DE9D-808D-757D-602B-406460C93A9B}"/>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Financial Assista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1070501D-09D9-5447-51E5-0D94C9244863}"/>
              </a:ext>
            </a:extLst>
          </p:cNvPr>
          <p:cNvSpPr txBox="1"/>
          <p:nvPr/>
        </p:nvSpPr>
        <p:spPr>
          <a:xfrm>
            <a:off x="10327512" y="5943703"/>
            <a:ext cx="1665521" cy="338554"/>
          </a:xfrm>
          <a:prstGeom prst="rect">
            <a:avLst/>
          </a:prstGeom>
          <a:noFill/>
        </p:spPr>
        <p:txBody>
          <a:bodyPr wrap="none" lIns="0" rIns="0" rtlCol="0">
            <a:spAutoFit/>
          </a:bodyPr>
          <a:lstStyle/>
          <a:p>
            <a:pPr algn="l">
              <a:spcBef>
                <a:spcPts val="600"/>
              </a:spcBef>
            </a:pPr>
            <a:r>
              <a:rPr lang="en-US" sz="1600"/>
              <a:t>Case Study ID: 46</a:t>
            </a:r>
          </a:p>
        </p:txBody>
      </p:sp>
    </p:spTree>
    <p:extLst>
      <p:ext uri="{BB962C8B-B14F-4D97-AF65-F5344CB8AC3E}">
        <p14:creationId xmlns:p14="http://schemas.microsoft.com/office/powerpoint/2010/main" val="3134060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2800" b="1" kern="0">
                <a:solidFill>
                  <a:srgbClr val="172A54"/>
                </a:solidFill>
                <a:latin typeface="Arial Black"/>
                <a:ea typeface="Arial Black"/>
                <a:cs typeface="Arial Black"/>
                <a:sym typeface="Arial Black"/>
              </a:rPr>
              <a:t>Morningstar's AI tool named Mo is an investment research assistant based on generative AI</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Morningstar's AI tool named Mo is an investment research assistant based on generative AI is intended for investment advisors and "informed investor" clients in the U.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43439" y="2993583"/>
            <a:ext cx="7911128" cy="1384995"/>
          </a:xfrm>
          <a:prstGeom prst="rect">
            <a:avLst/>
          </a:prstGeom>
          <a:noFill/>
        </p:spPr>
        <p:txBody>
          <a:bodyPr wrap="square" rtlCol="0">
            <a:spAutoFit/>
          </a:bodyPr>
          <a:lstStyle/>
          <a:p>
            <a:pPr algn="just" defTabSz="914400">
              <a:buClr>
                <a:srgbClr val="000000"/>
              </a:buClr>
            </a:pPr>
            <a:r>
              <a:rPr lang="en-US" sz="1200" kern="0">
                <a:solidFill>
                  <a:srgbClr val="000000"/>
                </a:solidFill>
                <a:cs typeface="Arial"/>
                <a:sym typeface="Arial"/>
              </a:rPr>
              <a:t>Morningstar used prompt tuning and vector embeddings for its Mo research tool built on generative AI. It incorporates more than 10,000 pieces of Morningstar research. This technical approach is not expensive; in its first month in use, Mo answered 25,000 questions at an average cost of $.002 per question for a total cost of $3,000. Despite its fast development and low cost, no compromises were made on privacy, security, or legality. Microsoft ensures GPT's memory is cleared post-chat, safeguarding user privacy. Morningstar's data is securely stored in the Azure cloud. Thorough legal reviews confirm Mo doesn't breach any ethical or regulatory standards related to investment advice. Users are informed that Mo doesn't provide investment advice upon accessing the system.</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30777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NA</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Financial Service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Compliance,  User Experience</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7F305365-29CA-C7B5-6E3F-210DC60ACF6E}"/>
              </a:ext>
            </a:extLst>
          </p:cNvPr>
          <p:cNvSpPr txBox="1"/>
          <p:nvPr/>
        </p:nvSpPr>
        <p:spPr>
          <a:xfrm>
            <a:off x="3911182" y="6129706"/>
            <a:ext cx="6554541" cy="784830"/>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www.forbes.com/sites/tomdavenport/2023/06/26/fast-cheap-and-in-control-generative-ai-in-morningstars-mo/?sh=17575cc116ae</a:t>
            </a:r>
            <a:endParaRPr lang="en-US" sz="1000"/>
          </a:p>
          <a:p>
            <a:pPr defTabSz="914400">
              <a:lnSpc>
                <a:spcPct val="90000"/>
              </a:lnSpc>
              <a:defRPr/>
            </a:pPr>
            <a:r>
              <a:rPr lang="en-US" sz="1000" b="1"/>
              <a:t>Publish Date: 6/2023</a:t>
            </a:r>
          </a:p>
          <a:p>
            <a:pPr defTabSz="914400">
              <a:lnSpc>
                <a:spcPct val="90000"/>
              </a:lnSpc>
              <a:defRPr/>
            </a:pPr>
            <a:endParaRPr lang="en-US" sz="1000"/>
          </a:p>
        </p:txBody>
      </p:sp>
      <p:sp>
        <p:nvSpPr>
          <p:cNvPr id="2" name="TextBox 1">
            <a:extLst>
              <a:ext uri="{FF2B5EF4-FFF2-40B4-BE49-F238E27FC236}">
                <a16:creationId xmlns:a16="http://schemas.microsoft.com/office/drawing/2014/main" id="{8C275B1D-3497-1C2D-A937-151608D42AD5}"/>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5" name="TextBox 14">
            <a:extLst>
              <a:ext uri="{FF2B5EF4-FFF2-40B4-BE49-F238E27FC236}">
                <a16:creationId xmlns:a16="http://schemas.microsoft.com/office/drawing/2014/main" id="{E8A83B76-EA8D-C113-029A-573566691D5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60AFD7A3-3381-BC80-1030-669AFE6D746E}"/>
              </a:ext>
            </a:extLst>
          </p:cNvPr>
          <p:cNvSpPr txBox="1"/>
          <p:nvPr/>
        </p:nvSpPr>
        <p:spPr>
          <a:xfrm>
            <a:off x="2229932" y="2753118"/>
            <a:ext cx="1681249"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Financial Assista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485B9F8-9806-D2FC-8CAF-164905405243}"/>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48</a:t>
            </a:r>
          </a:p>
        </p:txBody>
      </p:sp>
      <p:sp>
        <p:nvSpPr>
          <p:cNvPr id="19" name="TextBox 18">
            <a:extLst>
              <a:ext uri="{FF2B5EF4-FFF2-40B4-BE49-F238E27FC236}">
                <a16:creationId xmlns:a16="http://schemas.microsoft.com/office/drawing/2014/main" id="{908584C9-8053-BAF4-2837-F31222763A77}"/>
              </a:ext>
            </a:extLst>
          </p:cNvPr>
          <p:cNvSpPr txBox="1"/>
          <p:nvPr/>
        </p:nvSpPr>
        <p:spPr>
          <a:xfrm>
            <a:off x="2229933" y="1679083"/>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Morningstar</a:t>
            </a:r>
          </a:p>
        </p:txBody>
      </p:sp>
      <p:sp>
        <p:nvSpPr>
          <p:cNvPr id="20" name="TextBox 19">
            <a:extLst>
              <a:ext uri="{FF2B5EF4-FFF2-40B4-BE49-F238E27FC236}">
                <a16:creationId xmlns:a16="http://schemas.microsoft.com/office/drawing/2014/main" id="{8BC02F85-542C-62AC-AE9B-960CD2FC3FDC}"/>
              </a:ext>
            </a:extLst>
          </p:cNvPr>
          <p:cNvSpPr txBox="1"/>
          <p:nvPr/>
        </p:nvSpPr>
        <p:spPr>
          <a:xfrm>
            <a:off x="-15013" y="1736545"/>
            <a:ext cx="1792224"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Microsoft Azure OpenAI Service</a:t>
            </a:r>
            <a:endParaRPr lang="en-US" sz="1400" b="1" kern="0">
              <a:solidFill>
                <a:srgbClr val="000000"/>
              </a:solidFill>
              <a:cs typeface="Arial"/>
              <a:sym typeface="Arial"/>
            </a:endParaRPr>
          </a:p>
        </p:txBody>
      </p:sp>
    </p:spTree>
    <p:extLst>
      <p:ext uri="{BB962C8B-B14F-4D97-AF65-F5344CB8AC3E}">
        <p14:creationId xmlns:p14="http://schemas.microsoft.com/office/powerpoint/2010/main" val="16092036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Coyote Logistics saves developers’ time by generating code with GitHub</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Coyote Logistics wanted to provide a better developer experience and accelerate development and innovation.</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20412" y="2974412"/>
            <a:ext cx="7979027" cy="1600438"/>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Coyote Logistics migrated repositories strategically, prioritizing projects and codebases that would gain the most value from GitHub Copilot, GitHub Actions, GitHub Codespaces, and GitHub Advanced Security. GitHub Actions is allowing developers to build their own automation to solve their individual needs or choose from several pre-approved action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y also use GitHub Advanced Security to reduce the amount of manual code review they must do. Employees across the company are also using Codespaces to avoid manually setting up local development environment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Coyote Logistics had a 50% approximated reduction in manual code reviews for the cloud delivery team and a 50% approximated less time to write Terraform config file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y also had 1h of time saved per Cloud Engineering developer per day and 1h saved per day per developer.</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54139" y="1343852"/>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Logistic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90837" y="1628971"/>
            <a:ext cx="1616031" cy="307777"/>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GitHub Copilot</a:t>
            </a:r>
            <a:endParaRPr lang="en-US" sz="1400" b="1" kern="0">
              <a:solidFill>
                <a:srgbClr val="000000"/>
              </a:solidFill>
              <a:cs typeface="Arial"/>
              <a:sym typeface="Arial"/>
            </a:endParaRPr>
          </a:p>
        </p:txBody>
      </p:sp>
      <p:sp>
        <p:nvSpPr>
          <p:cNvPr id="760" name="TextBox 759">
            <a:extLst>
              <a:ext uri="{FF2B5EF4-FFF2-40B4-BE49-F238E27FC236}">
                <a16:creationId xmlns:a16="http://schemas.microsoft.com/office/drawing/2014/main" id="{16F0A96B-3D1E-E8DF-AC52-46F2C43A756E}"/>
              </a:ext>
            </a:extLst>
          </p:cNvPr>
          <p:cNvSpPr txBox="1"/>
          <p:nvPr/>
        </p:nvSpPr>
        <p:spPr>
          <a:xfrm>
            <a:off x="2141449" y="1621882"/>
            <a:ext cx="1505115"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Coyote Logistics </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Qual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DAA4489F-8C81-01C7-6589-124B72BCD748}"/>
              </a:ext>
            </a:extLst>
          </p:cNvPr>
          <p:cNvSpPr txBox="1"/>
          <p:nvPr/>
        </p:nvSpPr>
        <p:spPr>
          <a:xfrm>
            <a:off x="3869618" y="6060349"/>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github.com/customer-stories/coyote-logistics</a:t>
            </a:r>
            <a:endParaRPr lang="en-US" sz="1000"/>
          </a:p>
          <a:p>
            <a:pPr defTabSz="914400">
              <a:lnSpc>
                <a:spcPct val="90000"/>
              </a:lnSpc>
              <a:defRPr/>
            </a:pPr>
            <a:r>
              <a:rPr lang="en-US" sz="1000" b="1"/>
              <a:t>Publish Date: 8/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DDA9140B-DB11-176B-FD7D-C73288F6DEAE}"/>
              </a:ext>
            </a:extLst>
          </p:cNvPr>
          <p:cNvSpPr txBox="1"/>
          <p:nvPr/>
        </p:nvSpPr>
        <p:spPr>
          <a:xfrm>
            <a:off x="2203727" y="131955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717D0A8C-5D86-63CA-AF99-3E8FD1984D37}"/>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2C3B46AB-DE4D-36CB-753C-B5E5C1BAFE72}"/>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Coding Assista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AB5DF3E7-184C-EA07-0BC7-F202DC62EEAD}"/>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52</a:t>
            </a:r>
          </a:p>
        </p:txBody>
      </p:sp>
    </p:spTree>
    <p:extLst>
      <p:ext uri="{BB962C8B-B14F-4D97-AF65-F5344CB8AC3E}">
        <p14:creationId xmlns:p14="http://schemas.microsoft.com/office/powerpoint/2010/main" val="679737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257E0-F739-DD58-C0B7-649C78D50C4E}"/>
              </a:ext>
            </a:extLst>
          </p:cNvPr>
          <p:cNvSpPr>
            <a:spLocks noGrp="1"/>
          </p:cNvSpPr>
          <p:nvPr>
            <p:ph type="title"/>
          </p:nvPr>
        </p:nvSpPr>
        <p:spPr/>
        <p:txBody>
          <a:bodyPr/>
          <a:lstStyle/>
          <a:p>
            <a:r>
              <a:rPr lang="en-US"/>
              <a:t>Manufacturing Optimization</a:t>
            </a:r>
          </a:p>
        </p:txBody>
      </p:sp>
      <p:sp>
        <p:nvSpPr>
          <p:cNvPr id="4" name="TextBox 3">
            <a:extLst>
              <a:ext uri="{FF2B5EF4-FFF2-40B4-BE49-F238E27FC236}">
                <a16:creationId xmlns:a16="http://schemas.microsoft.com/office/drawing/2014/main" id="{CA5B95C7-AE5A-4644-48BE-E465146C2695}"/>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26096204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PIX Moving reimagines autonomous mobility with generative design in Fusion 360</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PIX Moving uses generative design in Fusion 360, robotics, and 3D printing to create a decentralized way of automotive manufacturing. Giving the customer more autonomy in the design proces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Customizable, modular spaces to host a range of custom services are attached to a variety of three- and four-wheeled chassis and PIX are using generative design in Fusion 360 to make it happen. AI-powered generative design helps optimize the chassis design to suit each customer’s application and different shape or physical requirements.</a:t>
            </a:r>
          </a:p>
          <a:p>
            <a:pPr algn="just" defTabSz="914400">
              <a:buClr>
                <a:srgbClr val="000000"/>
              </a:buClr>
            </a:pPr>
            <a:endParaRPr lang="en-IN" sz="1400" b="1" kern="0">
              <a:solidFill>
                <a:srgbClr val="000000"/>
              </a:solidFill>
              <a:cs typeface="Arial"/>
              <a:sym typeface="Arial"/>
            </a:endParaRP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Combining generative design with metal 3D printing and other digital manufacturing technologies, PIX can produce a nearly unlimited variety of customized platforms and vehicles within a much shorter lead time.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Can make 90% fewer car parts a possibility</a:t>
            </a:r>
            <a:endParaRPr lang="en-US" sz="1400" b="1" kern="0">
              <a:solidFill>
                <a:srgbClr val="00000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Automation</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45246"/>
            <a:ext cx="1159984" cy="307777"/>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Fusion 360</a:t>
            </a:r>
            <a:endParaRPr lang="en-US" sz="1400" b="1" kern="0">
              <a:solidFill>
                <a:srgbClr val="000000"/>
              </a:solidFill>
              <a:cs typeface="Arial"/>
              <a:sym typeface="Arial"/>
            </a:endParaRPr>
          </a:p>
        </p:txBody>
      </p:sp>
      <p:sp>
        <p:nvSpPr>
          <p:cNvPr id="760" name="TextBox 759">
            <a:extLst>
              <a:ext uri="{FF2B5EF4-FFF2-40B4-BE49-F238E27FC236}">
                <a16:creationId xmlns:a16="http://schemas.microsoft.com/office/drawing/2014/main" id="{16F0A96B-3D1E-E8DF-AC52-46F2C43A756E}"/>
              </a:ext>
            </a:extLst>
          </p:cNvPr>
          <p:cNvSpPr txBox="1"/>
          <p:nvPr/>
        </p:nvSpPr>
        <p:spPr>
          <a:xfrm>
            <a:off x="2132126" y="1722507"/>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PIX Moving</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High</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Innovation</a:t>
            </a: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Game Changing Value: Industry Transformation</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Upend</a:t>
            </a:r>
          </a:p>
        </p:txBody>
      </p:sp>
      <p:sp>
        <p:nvSpPr>
          <p:cNvPr id="3" name="TextBox 2">
            <a:extLst>
              <a:ext uri="{FF2B5EF4-FFF2-40B4-BE49-F238E27FC236}">
                <a16:creationId xmlns:a16="http://schemas.microsoft.com/office/drawing/2014/main" id="{692DD8F4-A078-5B92-12E2-8AB7843D2E12}"/>
              </a:ext>
            </a:extLst>
          </p:cNvPr>
          <p:cNvSpPr txBox="1"/>
          <p:nvPr/>
        </p:nvSpPr>
        <p:spPr>
          <a:xfrm>
            <a:off x="3869619" y="5939582"/>
            <a:ext cx="4937951" cy="1061829"/>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www.autodesk.com/products/fusion-360/blog/pix-moving-generative-design-fusion-360/</a:t>
            </a:r>
            <a:endParaRPr lang="en-US" sz="1000"/>
          </a:p>
          <a:p>
            <a:pPr defTabSz="914400">
              <a:lnSpc>
                <a:spcPct val="90000"/>
              </a:lnSpc>
              <a:defRPr/>
            </a:pPr>
            <a:endParaRPr lang="en-US" sz="1000" b="1"/>
          </a:p>
          <a:p>
            <a:pPr defTabSz="914400">
              <a:lnSpc>
                <a:spcPct val="90000"/>
              </a:lnSpc>
              <a:defRPr/>
            </a:pPr>
            <a:r>
              <a:rPr lang="en-US" sz="1000" b="1"/>
              <a:t>Client/Other Source: NA</a:t>
            </a:r>
          </a:p>
          <a:p>
            <a:pPr defTabSz="914400">
              <a:lnSpc>
                <a:spcPct val="90000"/>
              </a:lnSpc>
              <a:defRPr/>
            </a:pPr>
            <a:endParaRPr lang="en-US" sz="1000" b="1"/>
          </a:p>
          <a:p>
            <a:pPr defTabSz="914400">
              <a:lnSpc>
                <a:spcPct val="90000"/>
              </a:lnSpc>
              <a:defRPr/>
            </a:pPr>
            <a:r>
              <a:rPr lang="en-US" sz="1000" b="1"/>
              <a:t>Publish Date: 1/</a:t>
            </a:r>
            <a:r>
              <a:rPr lang="en-US" sz="1000"/>
              <a:t>2023</a:t>
            </a:r>
          </a:p>
          <a:p>
            <a:pPr defTabSz="914400">
              <a:lnSpc>
                <a:spcPct val="90000"/>
              </a:lnSpc>
              <a:defRPr/>
            </a:pPr>
            <a:endParaRPr lang="en-US" sz="1000"/>
          </a:p>
        </p:txBody>
      </p:sp>
      <p:sp>
        <p:nvSpPr>
          <p:cNvPr id="2" name="TextBox 1">
            <a:extLst>
              <a:ext uri="{FF2B5EF4-FFF2-40B4-BE49-F238E27FC236}">
                <a16:creationId xmlns:a16="http://schemas.microsoft.com/office/drawing/2014/main" id="{B822E8AE-53DF-390E-5F1D-1CD4B8820513}"/>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EC2679A3-4461-71CA-66EF-3B50ADFBA8BD}"/>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5B47A5EB-5E8E-FAD7-5B18-903D6068A4E1}"/>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nufacturing Optimiz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844A627B-9458-F7AD-7307-B11147BDF3D0}"/>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75</a:t>
            </a:r>
          </a:p>
        </p:txBody>
      </p:sp>
    </p:spTree>
    <p:extLst>
      <p:ext uri="{BB962C8B-B14F-4D97-AF65-F5344CB8AC3E}">
        <p14:creationId xmlns:p14="http://schemas.microsoft.com/office/powerpoint/2010/main" val="6530311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Optimizing automotive manufacturing with industrial Generative AI</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7" y="161193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Zapata AI’s goal was the optimization of a realistic assembly line based on BMW’s currently utilized manufacturing schedule. Additional challenges include:</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Complex worker scheduling, varying production rates, managing buffers.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BMW applied generative AI through MIT’s CQE.</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Industrial Generative AI minimizes idle time and meets production target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Used Generator-Enhanced Optimization (GEO) approach.</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rained model on existing solver solution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Orquestra® ran ~1 million optimization runs across various algorithm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GEO outperformed in configurations with vast solution space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9478" y="4929099"/>
            <a:ext cx="7954975"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GEO tied or surpassed other solvers in 71% of configuration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Optimizes complex vehicle production schedule.</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Outperforms solvers in minimizing idle time</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Maintains monthly vehicle production target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Auto</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26958"/>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Zapata AI</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50783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Cost Reduction, Faster Cycle Time</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12" name="TextBox 11">
            <a:extLst>
              <a:ext uri="{FF2B5EF4-FFF2-40B4-BE49-F238E27FC236}">
                <a16:creationId xmlns:a16="http://schemas.microsoft.com/office/drawing/2014/main" id="{78F77C5E-20EC-2C5A-91A7-2C60443388C5}"/>
              </a:ext>
            </a:extLst>
          </p:cNvPr>
          <p:cNvSpPr txBox="1"/>
          <p:nvPr/>
        </p:nvSpPr>
        <p:spPr>
          <a:xfrm>
            <a:off x="3869618" y="6060349"/>
            <a:ext cx="6554541" cy="923330"/>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zapata.ai/news/bmw-optimizes-vehicle-production-planning-using-quantum-inspired-generative-ai-techniques/</a:t>
            </a:r>
            <a:r>
              <a:rPr lang="en-US" sz="1000"/>
              <a:t> </a:t>
            </a:r>
          </a:p>
          <a:p>
            <a:pPr defTabSz="914400">
              <a:lnSpc>
                <a:spcPct val="90000"/>
              </a:lnSpc>
              <a:defRPr/>
            </a:pPr>
            <a:r>
              <a:rPr lang="en-US" sz="1000" b="1"/>
              <a:t>Client/Other Source: </a:t>
            </a:r>
            <a:r>
              <a:rPr lang="en-US" sz="1000">
                <a:hlinkClick r:id="rId7"/>
              </a:rPr>
              <a:t>https://zapata.ai/publications/quantum-inspired-optimization-for-industrial-scale-problems/</a:t>
            </a:r>
            <a:r>
              <a:rPr lang="en-US" sz="1000"/>
              <a:t>, </a:t>
            </a:r>
            <a:r>
              <a:rPr lang="en-US" sz="1000">
                <a:hlinkClick r:id="rId8"/>
              </a:rPr>
              <a:t>https://zapata.ai/bmw-generative-ai-case-study/</a:t>
            </a:r>
            <a:endParaRPr lang="en-US" sz="1000"/>
          </a:p>
          <a:p>
            <a:pPr defTabSz="914400">
              <a:lnSpc>
                <a:spcPct val="90000"/>
              </a:lnSpc>
              <a:defRPr/>
            </a:pPr>
            <a:r>
              <a:rPr lang="en-US" sz="1000" b="1"/>
              <a:t>Publish Date: 5/</a:t>
            </a:r>
            <a:r>
              <a:rPr lang="en-US" sz="1000"/>
              <a:t>2023</a:t>
            </a:r>
          </a:p>
          <a:p>
            <a:pPr defTabSz="914400">
              <a:lnSpc>
                <a:spcPct val="90000"/>
              </a:lnSpc>
              <a:defRPr/>
            </a:pPr>
            <a:endParaRPr lang="en-US" sz="1000"/>
          </a:p>
        </p:txBody>
      </p:sp>
      <p:sp>
        <p:nvSpPr>
          <p:cNvPr id="2" name="TextBox 1">
            <a:extLst>
              <a:ext uri="{FF2B5EF4-FFF2-40B4-BE49-F238E27FC236}">
                <a16:creationId xmlns:a16="http://schemas.microsoft.com/office/drawing/2014/main" id="{4C329F27-F2FE-EAC9-D5E7-986F1E69D853}"/>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65DE1FDC-ACB9-82BD-A5C8-EBBDB7976D04}"/>
              </a:ext>
            </a:extLst>
          </p:cNvPr>
          <p:cNvSpPr txBox="1"/>
          <p:nvPr/>
        </p:nvSpPr>
        <p:spPr>
          <a:xfrm>
            <a:off x="2229933" y="1724803"/>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BMW</a:t>
            </a:r>
          </a:p>
        </p:txBody>
      </p:sp>
      <p:sp>
        <p:nvSpPr>
          <p:cNvPr id="15" name="TextBox 14">
            <a:extLst>
              <a:ext uri="{FF2B5EF4-FFF2-40B4-BE49-F238E27FC236}">
                <a16:creationId xmlns:a16="http://schemas.microsoft.com/office/drawing/2014/main" id="{7D71E609-1D51-D2DD-3EB2-1C81B548CF6C}"/>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D6D70DDF-30C6-8DCB-6ACB-65B5280C5DF9}"/>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nufacturing Optimiz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BAB7AEE9-02DB-F539-B0F4-FF8E4C2D6BD2}"/>
              </a:ext>
            </a:extLst>
          </p:cNvPr>
          <p:cNvSpPr txBox="1"/>
          <p:nvPr/>
        </p:nvSpPr>
        <p:spPr>
          <a:xfrm>
            <a:off x="10193641" y="5909691"/>
            <a:ext cx="1665521" cy="338554"/>
          </a:xfrm>
          <a:prstGeom prst="rect">
            <a:avLst/>
          </a:prstGeom>
          <a:noFill/>
        </p:spPr>
        <p:txBody>
          <a:bodyPr wrap="none" lIns="0" rIns="0" rtlCol="0">
            <a:spAutoFit/>
          </a:bodyPr>
          <a:lstStyle/>
          <a:p>
            <a:pPr algn="l">
              <a:spcBef>
                <a:spcPts val="600"/>
              </a:spcBef>
            </a:pPr>
            <a:r>
              <a:rPr lang="en-US" sz="1600"/>
              <a:t>Case Study ID: 22</a:t>
            </a:r>
          </a:p>
        </p:txBody>
      </p:sp>
    </p:spTree>
    <p:extLst>
      <p:ext uri="{BB962C8B-B14F-4D97-AF65-F5344CB8AC3E}">
        <p14:creationId xmlns:p14="http://schemas.microsoft.com/office/powerpoint/2010/main" val="22484091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Samsung is working to develop a generative AI platform to improve its chip production</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Chipmakers are increasingly adopting AI tech to identify the causes of defects that are nearly impossible for humans to identify or look for the most efficient ways to utilize the equipment.</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Samsung is developing a generative AI platform, intended to rival ChatGPT, specifically for corporate applications. Not only will this platform be used in Samsung's DS division for automated chip manufacturing and big-data analysis of production lines, but it also plans to broaden its AI integration into other operational areas including the Device eXperience division which handles smartphones and home appliance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Improve wafer yields during production, identify causes of unnecessary wafer loss as well as DRAM product defects. Additionally, the technology will provide engineers ways to optimize the manufacturing proces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Manufacturing</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699526"/>
            <a:ext cx="1159984"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NAVER Corp</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fficiency, Quality, Productiv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11868" y="3439788"/>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165C94F7-1578-12F0-982A-F7663D06AADC}"/>
              </a:ext>
            </a:extLst>
          </p:cNvPr>
          <p:cNvSpPr txBox="1"/>
          <p:nvPr/>
        </p:nvSpPr>
        <p:spPr>
          <a:xfrm>
            <a:off x="3911182" y="6129706"/>
            <a:ext cx="6629356" cy="784830"/>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sourceability.com/post/samsung-plans-to-use-ai-to-improve-its-chip-design-and-production-processes-to-better-compete-with-tsmc</a:t>
            </a:r>
            <a:r>
              <a:rPr lang="en-US" sz="1000"/>
              <a:t> </a:t>
            </a:r>
          </a:p>
          <a:p>
            <a:pPr defTabSz="914400">
              <a:lnSpc>
                <a:spcPct val="90000"/>
              </a:lnSpc>
              <a:defRPr/>
            </a:pPr>
            <a:r>
              <a:rPr lang="en-US" sz="1000" b="1"/>
              <a:t>Publish Date: 8/2023</a:t>
            </a:r>
          </a:p>
          <a:p>
            <a:pPr defTabSz="914400">
              <a:lnSpc>
                <a:spcPct val="90000"/>
              </a:lnSpc>
              <a:defRPr/>
            </a:pPr>
            <a:endParaRPr lang="en-US" sz="1000"/>
          </a:p>
        </p:txBody>
      </p:sp>
      <p:sp>
        <p:nvSpPr>
          <p:cNvPr id="2" name="TextBox 1">
            <a:extLst>
              <a:ext uri="{FF2B5EF4-FFF2-40B4-BE49-F238E27FC236}">
                <a16:creationId xmlns:a16="http://schemas.microsoft.com/office/drawing/2014/main" id="{AA771622-443F-3143-105C-45438BCB7663}"/>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4A282F45-D757-66FC-F577-D9ABEC57C2E3}"/>
              </a:ext>
            </a:extLst>
          </p:cNvPr>
          <p:cNvSpPr txBox="1"/>
          <p:nvPr/>
        </p:nvSpPr>
        <p:spPr>
          <a:xfrm>
            <a:off x="2190187" y="1695009"/>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Samsung</a:t>
            </a:r>
          </a:p>
        </p:txBody>
      </p:sp>
      <p:sp>
        <p:nvSpPr>
          <p:cNvPr id="15" name="TextBox 14">
            <a:extLst>
              <a:ext uri="{FF2B5EF4-FFF2-40B4-BE49-F238E27FC236}">
                <a16:creationId xmlns:a16="http://schemas.microsoft.com/office/drawing/2014/main" id="{7679E28D-6785-6C96-5CDD-3F764E28A8E1}"/>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0209983A-FD74-6104-FFB2-D594528C403A}"/>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anufacturing Optimiz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8C0951B5-90EE-9D98-B532-AC5F91DC40C2}"/>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92</a:t>
            </a:r>
          </a:p>
        </p:txBody>
      </p:sp>
    </p:spTree>
    <p:extLst>
      <p:ext uri="{BB962C8B-B14F-4D97-AF65-F5344CB8AC3E}">
        <p14:creationId xmlns:p14="http://schemas.microsoft.com/office/powerpoint/2010/main" val="31985134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257E0-F739-DD58-C0B7-649C78D50C4E}"/>
              </a:ext>
            </a:extLst>
          </p:cNvPr>
          <p:cNvSpPr>
            <a:spLocks noGrp="1"/>
          </p:cNvSpPr>
          <p:nvPr>
            <p:ph type="title"/>
          </p:nvPr>
        </p:nvSpPr>
        <p:spPr/>
        <p:txBody>
          <a:bodyPr/>
          <a:lstStyle/>
          <a:p>
            <a:r>
              <a:rPr lang="en-US"/>
              <a:t>Analytics and BI</a:t>
            </a:r>
          </a:p>
        </p:txBody>
      </p:sp>
      <p:sp>
        <p:nvSpPr>
          <p:cNvPr id="4" name="TextBox 3">
            <a:extLst>
              <a:ext uri="{FF2B5EF4-FFF2-40B4-BE49-F238E27FC236}">
                <a16:creationId xmlns:a16="http://schemas.microsoft.com/office/drawing/2014/main" id="{0552B2B8-766D-8D54-4052-EEB8242A545A}"/>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26164282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Publicis’ Profitero debuts new GPT-powered chatbot to analyze e-commerce data</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Publicis-owned Profitero launched Ask Profitero, the AI assistant that can analyze data for 1,000 brands in 50 countries covering various e-commerce parameter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It offers insights about competitors, keywords, product titles, and other commerce analytic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Finds signals in extensive data.</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3" y="3020390"/>
            <a:ext cx="7911128" cy="1600438"/>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Ask Profitero is an AI assistant that can analyze data for 1,000 brands in 50 countries, including price, availability, search rank, ratings, reviews, photos, images, videos, and texts. It can provide insights into competitors' best-selling products, important keywords in their category, and suggest product titles to improve search rank. Ask Profitero can also provide other types of commerce analytics, such as product attributes and product availability. It can also summarize reviews into key themes and turn insights into charts for users to make their shopping experience more appealing.</a:t>
            </a:r>
            <a:endParaRPr lang="en-IN" sz="1400" b="1" kern="0">
              <a:solidFill>
                <a:srgbClr val="000000"/>
              </a:solidFill>
              <a:cs typeface="Arial"/>
              <a:sym typeface="Arial"/>
            </a:endParaRP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Colgate-Palmolive, among others, is an early tester, emphasizing its potential in search optimization (SEO)</a:t>
            </a:r>
            <a:endParaRPr lang="en-US" sz="1400" b="1" kern="0">
              <a:solidFill>
                <a:srgbClr val="00000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Advertising</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17814"/>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OpenAI</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	</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5"/>
            <a:ext cx="270366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Quality, Agility, Cycle Time, Click Throughs</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8" name="TextBox 7">
            <a:extLst>
              <a:ext uri="{FF2B5EF4-FFF2-40B4-BE49-F238E27FC236}">
                <a16:creationId xmlns:a16="http://schemas.microsoft.com/office/drawing/2014/main" id="{04AD8100-B300-6F95-72F8-AB9388246ED3}"/>
              </a:ext>
            </a:extLst>
          </p:cNvPr>
          <p:cNvSpPr txBox="1"/>
          <p:nvPr/>
        </p:nvSpPr>
        <p:spPr>
          <a:xfrm>
            <a:off x="3869618" y="6060349"/>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digiday.com/media-buying/profitero-debuts-new-gpt-powered-chatbot-to-analyze-e-commerce-data/</a:t>
            </a:r>
            <a:endParaRPr lang="en-US" sz="1000"/>
          </a:p>
          <a:p>
            <a:pPr defTabSz="914400">
              <a:lnSpc>
                <a:spcPct val="90000"/>
              </a:lnSpc>
              <a:defRPr/>
            </a:pPr>
            <a:r>
              <a:rPr lang="en-US" sz="1000" b="1"/>
              <a:t>Publish Date: 8/</a:t>
            </a:r>
            <a:r>
              <a:rPr lang="en-US" sz="1000"/>
              <a:t>2023</a:t>
            </a:r>
          </a:p>
          <a:p>
            <a:pPr defTabSz="914400">
              <a:lnSpc>
                <a:spcPct val="90000"/>
              </a:lnSpc>
              <a:defRPr/>
            </a:pPr>
            <a:endParaRPr lang="en-US" sz="1000"/>
          </a:p>
        </p:txBody>
      </p:sp>
      <p:sp>
        <p:nvSpPr>
          <p:cNvPr id="2" name="TextBox 1">
            <a:extLst>
              <a:ext uri="{FF2B5EF4-FFF2-40B4-BE49-F238E27FC236}">
                <a16:creationId xmlns:a16="http://schemas.microsoft.com/office/drawing/2014/main" id="{6B4E9C17-DA50-225A-4DF2-85379C700E8A}"/>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BB95A458-7AAB-50D4-2366-C6ECE29B571D}"/>
              </a:ext>
            </a:extLst>
          </p:cNvPr>
          <p:cNvSpPr txBox="1"/>
          <p:nvPr/>
        </p:nvSpPr>
        <p:spPr>
          <a:xfrm>
            <a:off x="2090039" y="1716485"/>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Publicis</a:t>
            </a:r>
          </a:p>
        </p:txBody>
      </p:sp>
      <p:sp>
        <p:nvSpPr>
          <p:cNvPr id="14" name="TextBox 13">
            <a:extLst>
              <a:ext uri="{FF2B5EF4-FFF2-40B4-BE49-F238E27FC236}">
                <a16:creationId xmlns:a16="http://schemas.microsoft.com/office/drawing/2014/main" id="{59086F85-033F-CD35-9277-D616E867E254}"/>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11C9B6A5-F51A-C331-DFDA-C61EE0BD3178}"/>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Analytics and BI</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DFD8613D-97EC-275A-B2CE-B24128725027}"/>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34</a:t>
            </a:r>
          </a:p>
        </p:txBody>
      </p:sp>
    </p:spTree>
    <p:extLst>
      <p:ext uri="{BB962C8B-B14F-4D97-AF65-F5344CB8AC3E}">
        <p14:creationId xmlns:p14="http://schemas.microsoft.com/office/powerpoint/2010/main" val="18679025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Nestlé &amp; General Mills’ CPW join AB InBev in adopting GPT-4 BI Assistant</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Cereal Partners Worldwide (CPW), a joint venture between Nestlé and General Mills, will use AnswerRocket's Max assistant to enhance their data access. The technology will enable employees to ask natural language questions, breaking down a common adoption barrier in business intelligence, allowing them to access insights more effectively.</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384995"/>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Anheuser-Busch InBev, Nestlé, and General Mills integrate AI assistant based on OpenAI’s GPT-4 for business intelligence in consumer good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Joint venture Cereal Partners Worldwide (CPW) by Nestle and General Mills to use AnswerRocket’s Max assistant for enhanced data insight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Being able to ask intuitive questions and receive easy-to-read, understandable answers will increase employee engagement</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9478" y="4869375"/>
            <a:ext cx="7954975" cy="1169551"/>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CPW Aims for faster, fact-based decisions for global and regional team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 AI assistant Facilitates natural language questions for accessible business intelligence.</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Boosts employee engagement through intuitive questioning.</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AB InBev uses AI for comfortable data engagement.</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Consumer goods companies explore generative AI across marketing function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CPG</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167800" y="1690382"/>
            <a:ext cx="1460725" cy="523220"/>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AnswerRocket OpenAI GPT-4</a:t>
            </a:r>
            <a:endParaRPr lang="en-US" sz="1400" b="1" kern="0">
              <a:solidFill>
                <a:srgbClr val="000000"/>
              </a:solidFill>
              <a:cs typeface="Arial"/>
              <a:sym typeface="Arial"/>
            </a:endParaRPr>
          </a:p>
        </p:txBody>
      </p:sp>
      <p:sp>
        <p:nvSpPr>
          <p:cNvPr id="760" name="TextBox 759">
            <a:extLst>
              <a:ext uri="{FF2B5EF4-FFF2-40B4-BE49-F238E27FC236}">
                <a16:creationId xmlns:a16="http://schemas.microsoft.com/office/drawing/2014/main" id="{16F0A96B-3D1E-E8DF-AC52-46F2C43A756E}"/>
              </a:ext>
            </a:extLst>
          </p:cNvPr>
          <p:cNvSpPr txBox="1"/>
          <p:nvPr/>
        </p:nvSpPr>
        <p:spPr>
          <a:xfrm>
            <a:off x="2130271" y="1684930"/>
            <a:ext cx="1505115"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Nestlé &amp; General Mills</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mployee Experience</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E45FF709-FF99-7C10-F726-DAB979F52DC2}"/>
              </a:ext>
            </a:extLst>
          </p:cNvPr>
          <p:cNvSpPr txBox="1"/>
          <p:nvPr/>
        </p:nvSpPr>
        <p:spPr>
          <a:xfrm>
            <a:off x="3869618" y="6060349"/>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a:t>
            </a:r>
            <a:r>
              <a:rPr lang="en-US" sz="1000"/>
              <a:t>: </a:t>
            </a:r>
            <a:r>
              <a:rPr lang="en-US" sz="1000">
                <a:hlinkClick r:id="rId6"/>
              </a:rPr>
              <a:t>https://consumergoods.com/nestle-general-mills-cpw-join-ab-inbev-adopting-gpt-4-bi-assistant</a:t>
            </a:r>
            <a:endParaRPr lang="en-US" sz="1000"/>
          </a:p>
          <a:p>
            <a:pPr defTabSz="914400">
              <a:lnSpc>
                <a:spcPct val="90000"/>
              </a:lnSpc>
              <a:defRPr/>
            </a:pPr>
            <a:r>
              <a:rPr lang="en-US" sz="1000" b="1"/>
              <a:t>Publish Date: 4/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CE099C05-C51C-8753-5641-52AF1CB85C16}"/>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2564ACB7-C929-8258-6B4B-D2A09794AD4E}"/>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4" name="TextBox 13">
            <a:extLst>
              <a:ext uri="{FF2B5EF4-FFF2-40B4-BE49-F238E27FC236}">
                <a16:creationId xmlns:a16="http://schemas.microsoft.com/office/drawing/2014/main" id="{34ED1809-21A4-E9B0-3069-1EB67EC235B8}"/>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Analytics and BI</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5" name="TextBox 14">
            <a:extLst>
              <a:ext uri="{FF2B5EF4-FFF2-40B4-BE49-F238E27FC236}">
                <a16:creationId xmlns:a16="http://schemas.microsoft.com/office/drawing/2014/main" id="{A6E86E20-6A88-BB98-B170-3F05883D8F1A}"/>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25</a:t>
            </a:r>
          </a:p>
        </p:txBody>
      </p:sp>
    </p:spTree>
    <p:extLst>
      <p:ext uri="{BB962C8B-B14F-4D97-AF65-F5344CB8AC3E}">
        <p14:creationId xmlns:p14="http://schemas.microsoft.com/office/powerpoint/2010/main" val="1027520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Estée Lauder is deepening generative AI to keep pace with shifting consumer taste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Estée Lauder Companies (ELC), a prestige beauty brand is using Google Cloud to include more applications of generative artificial intelligence (AI) and improve trends monitoring and internal workflow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Clinique and Aramis owner is leveraging generative AI to monitor consumer feedback in real-time while using Google Cloud’s Vertex AI platform to streamline its internal operations. ELC will tap into PaLM 2, a large language model (LLM), to analyze consumer sentiment on channels like social media and call centers. ELC, along with technology partner Eviden, has been working with Google Cloud to unify its data strategy as part of a multiyear agreement.</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Serve several purposes: to better track consumer sentiment, inform research and development goals and simplify internal workflows while increasing productivity.</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Better understand consumer intent and tailor consumer experiences for 20+ brands (including Estée Lauder, Clinique, Tom Ford Beauty, and more) across 40+ countrie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41" y="2723931"/>
            <a:ext cx="2138992" cy="523220"/>
          </a:xfrm>
          <a:prstGeom prst="rect">
            <a:avLst/>
          </a:prstGeom>
          <a:noFill/>
        </p:spPr>
        <p:txBody>
          <a:bodyPr wrap="square" rtlCol="0">
            <a:spAutoFit/>
          </a:bodyPr>
          <a:lstStyle/>
          <a:p>
            <a:pPr defTabSz="914400">
              <a:buClr>
                <a:srgbClr val="000000"/>
              </a:buClr>
              <a:defRPr/>
            </a:pPr>
            <a:r>
              <a:rPr lang="en-US" sz="1400" kern="0">
                <a:solidFill>
                  <a:srgbClr val="000000"/>
                </a:solidFill>
                <a:cs typeface="Arial"/>
                <a:sym typeface="Arial"/>
              </a:rPr>
              <a:t>Apparel, Accessories and Luxury Goods</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97368" y="1750691"/>
            <a:ext cx="139605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Google Cloud</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fficiency, Effectiveness</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	</a:t>
            </a:r>
          </a:p>
        </p:txBody>
      </p:sp>
      <p:sp>
        <p:nvSpPr>
          <p:cNvPr id="3" name="TextBox 2">
            <a:extLst>
              <a:ext uri="{FF2B5EF4-FFF2-40B4-BE49-F238E27FC236}">
                <a16:creationId xmlns:a16="http://schemas.microsoft.com/office/drawing/2014/main" id="{98BFF146-8329-9A86-C1F4-027ADF3B0F0A}"/>
              </a:ext>
            </a:extLst>
          </p:cNvPr>
          <p:cNvSpPr txBox="1"/>
          <p:nvPr/>
        </p:nvSpPr>
        <p:spPr>
          <a:xfrm>
            <a:off x="3869618" y="6052720"/>
            <a:ext cx="6554541" cy="1200329"/>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www.prnewswire.com/news-releases/the-estee-lauder-companies-inc-and-google-cloud-partner-to-transform-the-online-consumer-experience-with-generative-ai-301912131.html</a:t>
            </a:r>
            <a:r>
              <a:rPr lang="en-US" sz="1000"/>
              <a:t>, </a:t>
            </a:r>
            <a:r>
              <a:rPr lang="en-US" sz="1000">
                <a:hlinkClick r:id="rId7"/>
              </a:rPr>
              <a:t>https://www.marketingdive.com/news/estee-lauder-generative-ai-Google-Cloud-Next/692133/</a:t>
            </a:r>
            <a:r>
              <a:rPr lang="en-US" sz="1000"/>
              <a:t> </a:t>
            </a:r>
          </a:p>
          <a:p>
            <a:pPr defTabSz="914400">
              <a:lnSpc>
                <a:spcPct val="90000"/>
              </a:lnSpc>
              <a:defRPr/>
            </a:pPr>
            <a:r>
              <a:rPr lang="en-US" sz="1000" b="1"/>
              <a:t>Publish Date: 9/2023</a:t>
            </a:r>
          </a:p>
          <a:p>
            <a:pPr defTabSz="914400">
              <a:lnSpc>
                <a:spcPct val="90000"/>
              </a:lnSpc>
              <a:defRPr/>
            </a:pPr>
            <a:endParaRPr lang="en-US" sz="1000"/>
          </a:p>
          <a:p>
            <a:pPr defTabSz="914400">
              <a:lnSpc>
                <a:spcPct val="90000"/>
              </a:lnSpc>
              <a:defRPr/>
            </a:pP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73898A4E-37C3-940A-808A-553231C7BFE1}"/>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B1890A23-E942-C6DC-0113-4FFB04753CD5}"/>
              </a:ext>
            </a:extLst>
          </p:cNvPr>
          <p:cNvSpPr txBox="1"/>
          <p:nvPr/>
        </p:nvSpPr>
        <p:spPr>
          <a:xfrm>
            <a:off x="2190187" y="1749873"/>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Estée Lauder</a:t>
            </a:r>
          </a:p>
        </p:txBody>
      </p:sp>
      <p:sp>
        <p:nvSpPr>
          <p:cNvPr id="15" name="TextBox 14">
            <a:extLst>
              <a:ext uri="{FF2B5EF4-FFF2-40B4-BE49-F238E27FC236}">
                <a16:creationId xmlns:a16="http://schemas.microsoft.com/office/drawing/2014/main" id="{990F1A93-C788-B0B1-08F1-EC8F533DA55F}"/>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441D0FBE-70B3-A691-332A-2BD8B5F70BAD}"/>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Analytics and BI</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C5227A8E-BE4F-C95B-27E2-0A1074A1CF5D}"/>
              </a:ext>
            </a:extLst>
          </p:cNvPr>
          <p:cNvSpPr txBox="1"/>
          <p:nvPr/>
        </p:nvSpPr>
        <p:spPr>
          <a:xfrm>
            <a:off x="8569828" y="5964515"/>
            <a:ext cx="1779333" cy="338554"/>
          </a:xfrm>
          <a:prstGeom prst="rect">
            <a:avLst/>
          </a:prstGeom>
          <a:noFill/>
        </p:spPr>
        <p:txBody>
          <a:bodyPr wrap="none" lIns="0" rIns="0" rtlCol="0">
            <a:spAutoFit/>
          </a:bodyPr>
          <a:lstStyle/>
          <a:p>
            <a:pPr algn="l">
              <a:spcBef>
                <a:spcPts val="600"/>
              </a:spcBef>
            </a:pPr>
            <a:r>
              <a:rPr lang="en-US" sz="1600"/>
              <a:t>Case Study ID: 107</a:t>
            </a:r>
          </a:p>
        </p:txBody>
      </p:sp>
    </p:spTree>
    <p:extLst>
      <p:ext uri="{BB962C8B-B14F-4D97-AF65-F5344CB8AC3E}">
        <p14:creationId xmlns:p14="http://schemas.microsoft.com/office/powerpoint/2010/main" val="17704365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Kroger makes generative AI speak retail</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Kroger, a grocery retailer is piloting large language models to summarize customer database sets. With a goal to simplify the digital experience and offer more accurate personalized recommendations to its customers. </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84.51 customer research team (formerly dunnhumbyUSA) is using search algorithms and generative AI to improve substitution accuracy and search results. They are piloting large language models to summarize customer database sets, allowing them to analyze and categorize customer surveys and service logs quickly and accurately. This allows the business to respond to customer feedback more quickly and accurately, enhancing the customer experience</a:t>
            </a:r>
            <a:r>
              <a:rPr lang="en-US" sz="1300" kern="0">
                <a:solidFill>
                  <a:srgbClr val="000000"/>
                </a:solidFill>
                <a:cs typeface="Arial"/>
                <a:sym typeface="Arial"/>
              </a:rPr>
              <a:t>.</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By applying the AI to customer surveys and service logs, the team cam analyze them in minutes where it used to take days. This allows them to react to customer feedback more quickly and accurately, then reflect these learnings in the customer experience.</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Retail</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8" y="1699526"/>
            <a:ext cx="142278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Google Cloud</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50783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Customer Experience, Productiv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B89C1A68-34C4-8DEE-6B8A-C055A3568104}"/>
              </a:ext>
            </a:extLst>
          </p:cNvPr>
          <p:cNvSpPr txBox="1"/>
          <p:nvPr/>
        </p:nvSpPr>
        <p:spPr>
          <a:xfrm>
            <a:off x="3911182" y="6129706"/>
            <a:ext cx="6629356" cy="784830"/>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diginomica.com/making-generative-ai-speak-retail-walmart-and-kroger-have-big-plans-llms</a:t>
            </a:r>
            <a:endParaRPr lang="en-US" sz="1000"/>
          </a:p>
          <a:p>
            <a:pPr defTabSz="914400">
              <a:lnSpc>
                <a:spcPct val="90000"/>
              </a:lnSpc>
              <a:defRPr/>
            </a:pPr>
            <a:r>
              <a:rPr lang="en-US" sz="1000" b="1"/>
              <a:t>Publish Date: 6/2023</a:t>
            </a:r>
          </a:p>
          <a:p>
            <a:pPr defTabSz="914400">
              <a:lnSpc>
                <a:spcPct val="90000"/>
              </a:lnSpc>
              <a:defRPr/>
            </a:pPr>
            <a:r>
              <a:rPr lang="en-US" sz="1000"/>
              <a:t> </a:t>
            </a:r>
          </a:p>
        </p:txBody>
      </p:sp>
      <p:sp>
        <p:nvSpPr>
          <p:cNvPr id="2" name="TextBox 1">
            <a:extLst>
              <a:ext uri="{FF2B5EF4-FFF2-40B4-BE49-F238E27FC236}">
                <a16:creationId xmlns:a16="http://schemas.microsoft.com/office/drawing/2014/main" id="{CEA11202-086C-D25C-B942-AECAD8351200}"/>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F73EB8EC-62C8-72CF-E685-20946896D98B}"/>
              </a:ext>
            </a:extLst>
          </p:cNvPr>
          <p:cNvSpPr txBox="1"/>
          <p:nvPr/>
        </p:nvSpPr>
        <p:spPr>
          <a:xfrm>
            <a:off x="2190187" y="1695009"/>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Kroger</a:t>
            </a:r>
          </a:p>
        </p:txBody>
      </p:sp>
      <p:sp>
        <p:nvSpPr>
          <p:cNvPr id="15" name="TextBox 14">
            <a:extLst>
              <a:ext uri="{FF2B5EF4-FFF2-40B4-BE49-F238E27FC236}">
                <a16:creationId xmlns:a16="http://schemas.microsoft.com/office/drawing/2014/main" id="{F4FF5C48-4736-2574-3028-121D7F024AA8}"/>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DE74D802-6B34-C4D7-8F03-A6F4C02C873D}"/>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Analytics and BI	</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E2C8AC23-C270-F7B1-36F7-B8820A2C3801}"/>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90</a:t>
            </a:r>
          </a:p>
        </p:txBody>
      </p:sp>
    </p:spTree>
    <p:extLst>
      <p:ext uri="{BB962C8B-B14F-4D97-AF65-F5344CB8AC3E}">
        <p14:creationId xmlns:p14="http://schemas.microsoft.com/office/powerpoint/2010/main" val="5517772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257E0-F739-DD58-C0B7-649C78D50C4E}"/>
              </a:ext>
            </a:extLst>
          </p:cNvPr>
          <p:cNvSpPr>
            <a:spLocks noGrp="1"/>
          </p:cNvSpPr>
          <p:nvPr>
            <p:ph type="title"/>
          </p:nvPr>
        </p:nvSpPr>
        <p:spPr/>
        <p:txBody>
          <a:bodyPr/>
          <a:lstStyle/>
          <a:p>
            <a:r>
              <a:rPr lang="en-US"/>
              <a:t>Medical Assistants</a:t>
            </a:r>
          </a:p>
        </p:txBody>
      </p:sp>
      <p:sp>
        <p:nvSpPr>
          <p:cNvPr id="4" name="TextBox 3">
            <a:extLst>
              <a:ext uri="{FF2B5EF4-FFF2-40B4-BE49-F238E27FC236}">
                <a16:creationId xmlns:a16="http://schemas.microsoft.com/office/drawing/2014/main" id="{4185FA6B-C331-355B-0513-00858BACC13D}"/>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24604703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Mercado Libre reduces developers’ time to write and review code with GitHub</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Mercado Libre, an e-commerce and digital payments ecosystem’s developer platform team needed secure DevOps tooling that would allow its developers to be more efficient and allow them to focus more on providing value to user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384995"/>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Mercado Libre has made GitHub Copilot available to its entire developer organization, allowing them to focus on valuable work.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 company uses GitHub Advanced Security with secret scanning to evaluate every line of code for security issues, running automatically and in the background.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is ensures code security without incorporating additional tools or complex processes into developers' workflow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Developers were able to pull 100,000 requests merged per day and had about a 50% reduction in time spent writing code.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About more than 9,000 developers started using Copilot for code generation. </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3427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Retail</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0" y="1699526"/>
            <a:ext cx="1628525" cy="523220"/>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GitHub Copilot</a:t>
            </a:r>
            <a:endParaRPr lang="en-US" sz="1400" b="1" kern="0">
              <a:solidFill>
                <a:srgbClr val="000000"/>
              </a:solidFill>
              <a:cs typeface="Arial"/>
              <a:sym typeface="Arial"/>
            </a:endParaRPr>
          </a:p>
          <a:p>
            <a:pPr algn="ctr" defTabSz="914400">
              <a:buClr>
                <a:srgbClr val="000000"/>
              </a:buClr>
              <a:buFont typeface="Arial"/>
              <a:buNone/>
            </a:pP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F820771D-EF02-5179-4AA4-676BD01BDF8C}"/>
              </a:ext>
            </a:extLst>
          </p:cNvPr>
          <p:cNvSpPr txBox="1"/>
          <p:nvPr/>
        </p:nvSpPr>
        <p:spPr>
          <a:xfrm>
            <a:off x="3869618" y="6060349"/>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github.com/customer-stories/mercado-libre</a:t>
            </a:r>
            <a:endParaRPr lang="en-US" sz="1000"/>
          </a:p>
          <a:p>
            <a:pPr defTabSz="914400">
              <a:lnSpc>
                <a:spcPct val="90000"/>
              </a:lnSpc>
              <a:defRPr/>
            </a:pPr>
            <a:r>
              <a:rPr lang="en-US" sz="1000" b="1"/>
              <a:t>Client/Other Source:</a:t>
            </a:r>
          </a:p>
          <a:p>
            <a:pPr defTabSz="914400">
              <a:lnSpc>
                <a:spcPct val="90000"/>
              </a:lnSpc>
              <a:defRPr/>
            </a:pPr>
            <a:r>
              <a:rPr lang="en-US" sz="1000" b="1"/>
              <a:t>Publish Date: 7/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2B585466-1D94-2A80-AD45-AAE13DA61DB9}"/>
              </a:ext>
            </a:extLst>
          </p:cNvPr>
          <p:cNvSpPr txBox="1"/>
          <p:nvPr/>
        </p:nvSpPr>
        <p:spPr>
          <a:xfrm>
            <a:off x="2132126" y="1337825"/>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46347F0B-8426-E7A0-C6B8-B5892D714DD3}"/>
              </a:ext>
            </a:extLst>
          </p:cNvPr>
          <p:cNvSpPr txBox="1"/>
          <p:nvPr/>
        </p:nvSpPr>
        <p:spPr>
          <a:xfrm>
            <a:off x="2100280" y="1649095"/>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Mercado Libre</a:t>
            </a:r>
          </a:p>
        </p:txBody>
      </p:sp>
      <p:sp>
        <p:nvSpPr>
          <p:cNvPr id="15" name="TextBox 14">
            <a:extLst>
              <a:ext uri="{FF2B5EF4-FFF2-40B4-BE49-F238E27FC236}">
                <a16:creationId xmlns:a16="http://schemas.microsoft.com/office/drawing/2014/main" id="{D365B7B6-6DC9-D681-A12B-00CC304CC28F}"/>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E15B85E0-B66A-0AE5-4046-ACFEF1199697}"/>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Coding Assista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50341394-79C1-FF90-45B5-2E69E949EF33}"/>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67</a:t>
            </a:r>
          </a:p>
        </p:txBody>
      </p:sp>
    </p:spTree>
    <p:extLst>
      <p:ext uri="{BB962C8B-B14F-4D97-AF65-F5344CB8AC3E}">
        <p14:creationId xmlns:p14="http://schemas.microsoft.com/office/powerpoint/2010/main" val="35295699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Drexel University finds AI behind ChatGPT could help spot early signs of Alzheimer's Disease</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Presently the diagnostic process for Alzheimer's Disease involves a medical history review and lengthy set of physical and neurological evaluations and tests. This is both long and time taking. While there is still no cure for the disease, spotting it early can give patients more options for therapeutics and support.</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Language impairment is a common symptom in 60-80% of dementia patients. Researchers have trained GPT-3 with a set of transcripts from a dataset of speech recordings specifically for the purpose of testing natural language processing programs. The program uses transcripts from a dataset to predict dementia onset, capturing meaningful characteristics of word-use, sentence structure, and meaning to create an "embedding" profile of Alzheimer's speech.</a:t>
            </a:r>
            <a:endParaRPr lang="en-IN" sz="1400" b="1" kern="0">
              <a:solidFill>
                <a:srgbClr val="000000"/>
              </a:solidFill>
              <a:cs typeface="Arial"/>
              <a:sym typeface="Arial"/>
            </a:endParaRP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Research from Drexel University’s School of Biomedical Engineering, Science and Health Systems recently demonstrated that OpenAI’s GPT-3 program can identify clues from spontaneous speech that are 80% accurate in predicting the early stages of dementia.</a:t>
            </a:r>
            <a:endParaRPr lang="en-US" sz="1400" b="1" kern="0">
              <a:solidFill>
                <a:srgbClr val="00000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2" name="TextBox 751">
            <a:extLst>
              <a:ext uri="{FF2B5EF4-FFF2-40B4-BE49-F238E27FC236}">
                <a16:creationId xmlns:a16="http://schemas.microsoft.com/office/drawing/2014/main" id="{06F3510F-A67B-BFEE-BA8C-DA668EA0D95B}"/>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40" y="2774998"/>
            <a:ext cx="1178624"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Education</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81822"/>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ChatGPT</a:t>
            </a:r>
            <a:endParaRPr lang="en-US" sz="1400" b="1" kern="0">
              <a:solidFill>
                <a:srgbClr val="000000"/>
              </a:solidFill>
              <a:cs typeface="Arial"/>
              <a:sym typeface="Arial"/>
            </a:endParaRPr>
          </a:p>
        </p:txBody>
      </p:sp>
      <p:sp>
        <p:nvSpPr>
          <p:cNvPr id="760" name="TextBox 759">
            <a:extLst>
              <a:ext uri="{FF2B5EF4-FFF2-40B4-BE49-F238E27FC236}">
                <a16:creationId xmlns:a16="http://schemas.microsoft.com/office/drawing/2014/main" id="{16F0A96B-3D1E-E8DF-AC52-46F2C43A756E}"/>
              </a:ext>
            </a:extLst>
          </p:cNvPr>
          <p:cNvSpPr txBox="1"/>
          <p:nvPr/>
        </p:nvSpPr>
        <p:spPr>
          <a:xfrm>
            <a:off x="2136858" y="1724854"/>
            <a:ext cx="1505115"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Drexel University</a:t>
            </a:r>
          </a:p>
        </p:txBody>
      </p:sp>
      <p:sp>
        <p:nvSpPr>
          <p:cNvPr id="2" name="TextBox 1">
            <a:extLst>
              <a:ext uri="{FF2B5EF4-FFF2-40B4-BE49-F238E27FC236}">
                <a16:creationId xmlns:a16="http://schemas.microsoft.com/office/drawing/2014/main" id="{A9A1176E-2350-9C69-FF3C-C8723FF5B0AD}"/>
              </a:ext>
            </a:extLst>
          </p:cNvPr>
          <p:cNvSpPr txBox="1"/>
          <p:nvPr/>
        </p:nvSpPr>
        <p:spPr>
          <a:xfrm>
            <a:off x="3869619" y="6060349"/>
            <a:ext cx="6488954" cy="9233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endParaRPr lang="en-US" sz="1000" b="1"/>
          </a:p>
          <a:p>
            <a:pPr defTabSz="914400">
              <a:lnSpc>
                <a:spcPct val="90000"/>
              </a:lnSpc>
              <a:defRPr/>
            </a:pPr>
            <a:r>
              <a:rPr lang="en-US" sz="1000" b="1"/>
              <a:t>Client/Other Source: </a:t>
            </a:r>
            <a:r>
              <a:rPr lang="en-US" sz="1000">
                <a:hlinkClick r:id="rId6"/>
              </a:rPr>
              <a:t>https://drexel.edu/news/archive/2022/December/GPT-3-alzheimers-disease</a:t>
            </a:r>
            <a:endParaRPr lang="en-US" sz="1000"/>
          </a:p>
          <a:p>
            <a:pPr defTabSz="914400">
              <a:lnSpc>
                <a:spcPct val="90000"/>
              </a:lnSpc>
              <a:defRPr/>
            </a:pPr>
            <a:r>
              <a:rPr lang="en-US" sz="1000"/>
              <a:t>	          </a:t>
            </a:r>
            <a:r>
              <a:rPr lang="en-US" sz="1000">
                <a:hlinkClick r:id="rId7"/>
              </a:rPr>
              <a:t>https://indiaai.gov.in/news/gpt-3-may-help-predict-alzheimer-s</a:t>
            </a:r>
            <a:endParaRPr lang="en-US" sz="1000"/>
          </a:p>
          <a:p>
            <a:pPr defTabSz="914400">
              <a:lnSpc>
                <a:spcPct val="90000"/>
              </a:lnSpc>
              <a:defRPr/>
            </a:pPr>
            <a:r>
              <a:rPr lang="en-US" sz="1000" b="1"/>
              <a:t>Publish Date: </a:t>
            </a:r>
            <a:r>
              <a:rPr lang="en-US" sz="1000"/>
              <a:t>12/2022</a:t>
            </a:r>
          </a:p>
          <a:p>
            <a:pPr defTabSz="914400">
              <a:lnSpc>
                <a:spcPct val="90000"/>
              </a:lnSpc>
              <a:defRPr/>
            </a:pPr>
            <a:endParaRPr lang="en-US" sz="1000"/>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High</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Innovation</a:t>
            </a: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Game Changing Value: Industry Transformation</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Upend</a:t>
            </a:r>
          </a:p>
        </p:txBody>
      </p:sp>
      <p:sp>
        <p:nvSpPr>
          <p:cNvPr id="3" name="TextBox 2">
            <a:extLst>
              <a:ext uri="{FF2B5EF4-FFF2-40B4-BE49-F238E27FC236}">
                <a16:creationId xmlns:a16="http://schemas.microsoft.com/office/drawing/2014/main" id="{15C18EEE-9E2C-40BA-3287-7BBBA1A1D46C}"/>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8" name="TextBox 7">
            <a:extLst>
              <a:ext uri="{FF2B5EF4-FFF2-40B4-BE49-F238E27FC236}">
                <a16:creationId xmlns:a16="http://schemas.microsoft.com/office/drawing/2014/main" id="{12639F2D-FE29-0EE8-6D7E-59DEAFD3F205}"/>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edical Assista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2" name="TextBox 11">
            <a:extLst>
              <a:ext uri="{FF2B5EF4-FFF2-40B4-BE49-F238E27FC236}">
                <a16:creationId xmlns:a16="http://schemas.microsoft.com/office/drawing/2014/main" id="{7895167C-F882-4870-EB1F-D8486CFF53F3}"/>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86</a:t>
            </a:r>
          </a:p>
        </p:txBody>
      </p:sp>
    </p:spTree>
    <p:extLst>
      <p:ext uri="{BB962C8B-B14F-4D97-AF65-F5344CB8AC3E}">
        <p14:creationId xmlns:p14="http://schemas.microsoft.com/office/powerpoint/2010/main" val="27951861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2500" b="1" kern="0">
                <a:solidFill>
                  <a:srgbClr val="172A54"/>
                </a:solidFill>
                <a:latin typeface="Arial Black"/>
                <a:ea typeface="Arial Black"/>
                <a:cs typeface="Arial Black"/>
                <a:sym typeface="Arial Black"/>
              </a:rPr>
              <a:t>AI-assisted colonoscopy (GI Genius by Medtronic with generative AI applications) can reduce by 50% the missed colon cancer case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AI-assisted colonoscopy (GI Genius by Medtronic with generative AI applications) can reduce by 50% the missed colon cancer cases. </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y offer the Monai Model Zoo, a part of the open-source MONAI project, which contains a collection of medical imaging models in the MONAI Bundle format. Currently, it hosts 21 models. GI Genius can detect small, precancerous adenomas, or colorectal polyps, that gastroenterologists often miss, and can reduce missed polyps by up to two times.</a:t>
            </a:r>
            <a:endParaRPr lang="en-IN" sz="1400" b="1" kern="0">
              <a:solidFill>
                <a:srgbClr val="000000"/>
              </a:solidFill>
              <a:cs typeface="Arial"/>
              <a:sym typeface="Arial"/>
            </a:endParaRP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AI-assisted colonoscopy tool called GI Genius by Medtronic, utilizes generative AI and has been shown to decrease missed colon cancer cases by 50%.</a:t>
            </a:r>
            <a:endParaRPr lang="en-US" sz="1400" b="1" kern="0">
              <a:solidFill>
                <a:srgbClr val="00000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defTabSz="914400">
              <a:buClr>
                <a:srgbClr val="000000"/>
              </a:buClr>
              <a:defRPr/>
            </a:pPr>
            <a:r>
              <a:rPr kumimoji="0" lang="en-US" sz="1400" b="0" i="0" u="none" strike="noStrike" kern="0" cap="none" spc="0" normalizeH="0" baseline="0" noProof="0">
                <a:ln>
                  <a:noFill/>
                </a:ln>
                <a:solidFill>
                  <a:srgbClr val="000000"/>
                </a:solidFill>
                <a:effectLst/>
                <a:uLnTx/>
                <a:uFillTx/>
                <a:cs typeface="Arial"/>
                <a:sym typeface="Arial"/>
              </a:rPr>
              <a:t>Medical Device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653806"/>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NVIDIA</a:t>
            </a:r>
            <a:endParaRPr lang="en-US" sz="1400" b="1" kern="0">
              <a:solidFill>
                <a:srgbClr val="000000"/>
              </a:solidFill>
              <a:cs typeface="Arial"/>
              <a:sym typeface="Arial"/>
            </a:endParaRPr>
          </a:p>
        </p:txBody>
      </p:sp>
      <p:sp>
        <p:nvSpPr>
          <p:cNvPr id="760" name="TextBox 759">
            <a:extLst>
              <a:ext uri="{FF2B5EF4-FFF2-40B4-BE49-F238E27FC236}">
                <a16:creationId xmlns:a16="http://schemas.microsoft.com/office/drawing/2014/main" id="{16F0A96B-3D1E-E8DF-AC52-46F2C43A756E}"/>
              </a:ext>
            </a:extLst>
          </p:cNvPr>
          <p:cNvSpPr txBox="1"/>
          <p:nvPr/>
        </p:nvSpPr>
        <p:spPr>
          <a:xfrm>
            <a:off x="2137222" y="1666093"/>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Medtronic</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High</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Save Lives</a:t>
            </a: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Game Changing Value: Industry Transformation</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Upend</a:t>
            </a:r>
          </a:p>
        </p:txBody>
      </p:sp>
      <p:sp>
        <p:nvSpPr>
          <p:cNvPr id="12" name="TextBox 11">
            <a:extLst>
              <a:ext uri="{FF2B5EF4-FFF2-40B4-BE49-F238E27FC236}">
                <a16:creationId xmlns:a16="http://schemas.microsoft.com/office/drawing/2014/main" id="{35B98CB5-30EA-C9E4-6DED-5C6587EA02A9}"/>
              </a:ext>
            </a:extLst>
          </p:cNvPr>
          <p:cNvSpPr txBox="1"/>
          <p:nvPr/>
        </p:nvSpPr>
        <p:spPr>
          <a:xfrm>
            <a:off x="3869618" y="6060349"/>
            <a:ext cx="6554541" cy="9233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endParaRPr lang="en-US" sz="1000" b="1"/>
          </a:p>
          <a:p>
            <a:pPr defTabSz="914400">
              <a:lnSpc>
                <a:spcPct val="90000"/>
              </a:lnSpc>
              <a:defRPr/>
            </a:pPr>
            <a:r>
              <a:rPr lang="en-US" sz="1000" b="1"/>
              <a:t>Client/Other Source</a:t>
            </a:r>
            <a:r>
              <a:rPr lang="en-US" sz="1000"/>
              <a:t>: </a:t>
            </a:r>
            <a:r>
              <a:rPr lang="en-US" sz="1000">
                <a:hlinkClick r:id="rId6"/>
              </a:rPr>
              <a:t>https://www.nextbigfuture.com/2023/04/nvidia-generative-ai-models-for-medical-imaging.html</a:t>
            </a:r>
            <a:endParaRPr lang="en-US" sz="1000"/>
          </a:p>
          <a:p>
            <a:pPr defTabSz="914400">
              <a:lnSpc>
                <a:spcPct val="90000"/>
              </a:lnSpc>
              <a:defRPr/>
            </a:pPr>
            <a:endParaRPr lang="en-US" sz="1000" b="1"/>
          </a:p>
          <a:p>
            <a:pPr defTabSz="914400">
              <a:lnSpc>
                <a:spcPct val="90000"/>
              </a:lnSpc>
              <a:defRPr/>
            </a:pPr>
            <a:r>
              <a:rPr lang="en-US" sz="1000" b="1"/>
              <a:t>Publish Date: </a:t>
            </a:r>
            <a:r>
              <a:rPr lang="en-US" sz="1000"/>
              <a:t>4/2023</a:t>
            </a:r>
          </a:p>
          <a:p>
            <a:pPr defTabSz="914400">
              <a:lnSpc>
                <a:spcPct val="90000"/>
              </a:lnSpc>
              <a:defRPr/>
            </a:pPr>
            <a:r>
              <a:rPr lang="en-US" sz="1000"/>
              <a:t> </a:t>
            </a:r>
          </a:p>
        </p:txBody>
      </p:sp>
      <p:sp>
        <p:nvSpPr>
          <p:cNvPr id="2" name="TextBox 1">
            <a:extLst>
              <a:ext uri="{FF2B5EF4-FFF2-40B4-BE49-F238E27FC236}">
                <a16:creationId xmlns:a16="http://schemas.microsoft.com/office/drawing/2014/main" id="{E610FE80-336B-4F55-CC62-33449820C4CF}"/>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3047283B-F08B-2EE8-921A-18BA59C3E51D}"/>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E9792B68-7752-E789-4034-AE80967542AC}"/>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edical Assista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9FDE4AE0-E538-74DA-B1A1-607C996A5E99}"/>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26</a:t>
            </a:r>
          </a:p>
        </p:txBody>
      </p:sp>
    </p:spTree>
    <p:extLst>
      <p:ext uri="{BB962C8B-B14F-4D97-AF65-F5344CB8AC3E}">
        <p14:creationId xmlns:p14="http://schemas.microsoft.com/office/powerpoint/2010/main" val="27962222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err="1">
                <a:solidFill>
                  <a:srgbClr val="172A54"/>
                </a:solidFill>
                <a:latin typeface="Arial Black"/>
                <a:ea typeface="Arial Black"/>
                <a:cs typeface="Arial Black"/>
                <a:sym typeface="Arial Black"/>
              </a:rPr>
              <a:t>Timeplast</a:t>
            </a:r>
            <a:r>
              <a:rPr lang="en-US" sz="3200" b="1" kern="0">
                <a:solidFill>
                  <a:srgbClr val="172A54"/>
                </a:solidFill>
                <a:latin typeface="Arial Black"/>
                <a:ea typeface="Arial Black"/>
                <a:cs typeface="Arial Black"/>
                <a:sym typeface="Arial Black"/>
              </a:rPr>
              <a:t> raised over $1.5M in capital through </a:t>
            </a:r>
            <a:r>
              <a:rPr lang="en-US" sz="3200" b="1" kern="0" err="1">
                <a:solidFill>
                  <a:srgbClr val="172A54"/>
                </a:solidFill>
                <a:latin typeface="Arial Black"/>
                <a:ea typeface="Arial Black"/>
                <a:cs typeface="Arial Black"/>
                <a:sym typeface="Arial Black"/>
              </a:rPr>
              <a:t>Omneky</a:t>
            </a:r>
            <a:r>
              <a:rPr lang="en-US" sz="3200" b="1" kern="0">
                <a:solidFill>
                  <a:srgbClr val="172A54"/>
                </a:solidFill>
                <a:latin typeface="Arial Black"/>
                <a:ea typeface="Arial Black"/>
                <a:cs typeface="Arial Black"/>
                <a:sym typeface="Arial Black"/>
              </a:rPr>
              <a:t> AI-powered advertising solution</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err="1">
                <a:solidFill>
                  <a:srgbClr val="000000"/>
                </a:solidFill>
                <a:cs typeface="Arial"/>
                <a:sym typeface="Arial"/>
              </a:rPr>
              <a:t>Timeplast</a:t>
            </a:r>
            <a:r>
              <a:rPr lang="en-US" sz="1400" kern="0">
                <a:solidFill>
                  <a:srgbClr val="000000"/>
                </a:solidFill>
                <a:cs typeface="Arial"/>
                <a:sym typeface="Arial"/>
              </a:rPr>
              <a:t> partnered with Start Engine to kickstart their fundraising campaign, and paid advertising was identified as an opportunity to drive awareness and engagement. </a:t>
            </a:r>
            <a:r>
              <a:rPr lang="en-US" sz="1400" kern="0" err="1">
                <a:solidFill>
                  <a:srgbClr val="000000"/>
                </a:solidFill>
                <a:cs typeface="Arial"/>
                <a:sym typeface="Arial"/>
              </a:rPr>
              <a:t>Timeplast's</a:t>
            </a:r>
            <a:r>
              <a:rPr lang="en-US" sz="1400" kern="0">
                <a:solidFill>
                  <a:srgbClr val="000000"/>
                </a:solidFill>
                <a:cs typeface="Arial"/>
                <a:sym typeface="Arial"/>
              </a:rPr>
              <a:t> crowdfunding campaign had a limited lifespan, so speed to delivery and a path to value were key considerations where they needed help from an advertising partner</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Omneky developed a creative strategy to showcase the impact of Timeplast's product on the future of our planet through clips of its development, such as CEO Man Rendon drinking water that had dissolved Timeplast</a:t>
            </a:r>
          </a:p>
          <a:p>
            <a:pPr algn="just" defTabSz="914400">
              <a:buClr>
                <a:srgbClr val="000000"/>
              </a:buClr>
            </a:pPr>
            <a:r>
              <a:rPr lang="en-US" sz="1400" kern="0">
                <a:solidFill>
                  <a:srgbClr val="000000"/>
                </a:solidFill>
                <a:cs typeface="Arial"/>
                <a:sym typeface="Arial"/>
              </a:rPr>
              <a:t>Omneky leveraged its generative AI tool to create compelling AI-generated ads, exploring entirely new angles through which Timeplast’s key value propositions could be communicated</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5.3X increase in return on AD spend</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1.5 Million raised with the help of Omneky</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Omneky's analytics platform enabled Timeplast to make data-informed media buying decision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defTabSz="914400">
              <a:buClr>
                <a:srgbClr val="000000"/>
              </a:buClr>
              <a:defRPr/>
            </a:pPr>
            <a:r>
              <a:rPr kumimoji="0" lang="en-US" sz="1400" b="0" i="0" u="none" strike="noStrike" kern="0" cap="none" spc="0" normalizeH="0" baseline="0" noProof="0">
                <a:ln>
                  <a:noFill/>
                </a:ln>
                <a:solidFill>
                  <a:srgbClr val="000000"/>
                </a:solidFill>
                <a:effectLst/>
                <a:uLnTx/>
                <a:uFillTx/>
                <a:cs typeface="Arial"/>
                <a:sym typeface="Arial"/>
              </a:rPr>
              <a:t>Commodity Chemical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45246"/>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Omneky</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7" y="5765016"/>
            <a:ext cx="3513753" cy="410608"/>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Increased Revenue, Customer Acquisition, Enhanced Customer Engagement</a:t>
            </a:r>
            <a:endParaRPr lang="en-IN" sz="12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12" name="TextBox 11">
            <a:extLst>
              <a:ext uri="{FF2B5EF4-FFF2-40B4-BE49-F238E27FC236}">
                <a16:creationId xmlns:a16="http://schemas.microsoft.com/office/drawing/2014/main" id="{B94FDA27-D608-B108-DC48-CAE38703E901}"/>
              </a:ext>
            </a:extLst>
          </p:cNvPr>
          <p:cNvSpPr txBox="1"/>
          <p:nvPr/>
        </p:nvSpPr>
        <p:spPr>
          <a:xfrm>
            <a:off x="3846590" y="6196436"/>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www.omneky.com/case-studies/how-timeplast-raised-over-1-5m-in-capital-through-omnekys-ai-powered-advertising-solution</a:t>
            </a:r>
            <a:endParaRPr lang="en-US" sz="1000"/>
          </a:p>
          <a:p>
            <a:pPr defTabSz="914400">
              <a:lnSpc>
                <a:spcPct val="90000"/>
              </a:lnSpc>
              <a:defRPr/>
            </a:pPr>
            <a:r>
              <a:rPr lang="en-US" sz="1000" b="1"/>
              <a:t>Client/Other Source:</a:t>
            </a:r>
          </a:p>
          <a:p>
            <a:pPr defTabSz="914400">
              <a:lnSpc>
                <a:spcPct val="90000"/>
              </a:lnSpc>
              <a:defRPr/>
            </a:pPr>
            <a:r>
              <a:rPr lang="en-US" sz="1000" b="1"/>
              <a:t>Publish Date: 03/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0D09AC8D-E8BD-0636-EC37-21496BD8C4F0}"/>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3" name="TextBox 2">
            <a:extLst>
              <a:ext uri="{FF2B5EF4-FFF2-40B4-BE49-F238E27FC236}">
                <a16:creationId xmlns:a16="http://schemas.microsoft.com/office/drawing/2014/main" id="{B3774D0F-EE63-B249-940C-D5B0853650F6}"/>
              </a:ext>
            </a:extLst>
          </p:cNvPr>
          <p:cNvSpPr txBox="1"/>
          <p:nvPr/>
        </p:nvSpPr>
        <p:spPr>
          <a:xfrm>
            <a:off x="2229933" y="1743091"/>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Timeplast</a:t>
            </a:r>
          </a:p>
        </p:txBody>
      </p:sp>
      <p:sp>
        <p:nvSpPr>
          <p:cNvPr id="8" name="TextBox 7">
            <a:extLst>
              <a:ext uri="{FF2B5EF4-FFF2-40B4-BE49-F238E27FC236}">
                <a16:creationId xmlns:a16="http://schemas.microsoft.com/office/drawing/2014/main" id="{D9A3C141-476A-2B37-1852-22A13CC7CFCE}"/>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7C25133D-C7CF-3ABC-FE75-718C29829AB4}"/>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edical Assista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C097F63E-7246-9D29-64C7-8C158C884562}"/>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12</a:t>
            </a:r>
          </a:p>
        </p:txBody>
      </p:sp>
    </p:spTree>
    <p:extLst>
      <p:ext uri="{BB962C8B-B14F-4D97-AF65-F5344CB8AC3E}">
        <p14:creationId xmlns:p14="http://schemas.microsoft.com/office/powerpoint/2010/main" val="4268936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Bayer is rapidly expanding its footprint with artificial intelligence</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Bayer is a prominent pharmaceutical and biotechnology company which has partnered with Google Cloud to optimize its core pharmaceutical business through artificial intelligence.</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3" y="3001463"/>
            <a:ext cx="7911128"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Bayer is partnering with Google Cloud to optimize its pharmaceutical business, focusing on improving clinical trial and drug discovery processes using Tensor Processing Units (TPUs).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e company plans to execute large quantum chemistry calculations and unlock new insights using Google Cloud's Vertex AI and Med-PaLM 2 to refine the clinical trials proces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719" y="4879504"/>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project aims to streamline and streamline the research process by automating regulatory documentation generation, which is currently one of the most challenging tasks. The technology will summarize text, organize references, and package the documentation for submission.</a:t>
            </a:r>
            <a:endParaRPr lang="en-US" sz="1400" b="1" kern="0">
              <a:solidFill>
                <a:srgbClr val="00000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22447"/>
            <a:ext cx="2120353" cy="738664"/>
          </a:xfrm>
          <a:prstGeom prst="rect">
            <a:avLst/>
          </a:prstGeom>
          <a:noFill/>
        </p:spPr>
        <p:txBody>
          <a:bodyPr wrap="square" rtlCol="0">
            <a:spAutoFit/>
          </a:bodyPr>
          <a:lstStyle/>
          <a:p>
            <a:pPr defTabSz="914400">
              <a:buClr>
                <a:srgbClr val="000000"/>
              </a:buClr>
              <a:defRPr/>
            </a:pPr>
            <a:r>
              <a:rPr lang="en-US" sz="1400" kern="0">
                <a:solidFill>
                  <a:srgbClr val="000000"/>
                </a:solidFill>
                <a:cs typeface="Arial"/>
                <a:sym typeface="Arial"/>
              </a:rPr>
              <a:t>Healthcare and Life sciences</a:t>
            </a:r>
            <a:endParaRPr kumimoji="0" lang="en-US" sz="1400" b="0" i="0" u="none" strike="noStrike" kern="0" cap="none" spc="0" normalizeH="0" baseline="0" noProof="0">
              <a:ln>
                <a:noFill/>
              </a:ln>
              <a:solidFill>
                <a:srgbClr val="000000"/>
              </a:solidFill>
              <a:effectLst/>
              <a:uLnTx/>
              <a:uFillTx/>
              <a:cs typeface="Arial"/>
              <a:sym typeface="Arial"/>
            </a:endParaRPr>
          </a:p>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167800" y="1662950"/>
            <a:ext cx="1367702"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Google Cloud</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fficiency, Effectiveness</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	</a:t>
            </a:r>
          </a:p>
        </p:txBody>
      </p:sp>
      <p:sp>
        <p:nvSpPr>
          <p:cNvPr id="3" name="TextBox 2">
            <a:extLst>
              <a:ext uri="{FF2B5EF4-FFF2-40B4-BE49-F238E27FC236}">
                <a16:creationId xmlns:a16="http://schemas.microsoft.com/office/drawing/2014/main" id="{675F7EBA-A0DA-246F-A2E0-690EE326EA69}"/>
              </a:ext>
            </a:extLst>
          </p:cNvPr>
          <p:cNvSpPr txBox="1"/>
          <p:nvPr/>
        </p:nvSpPr>
        <p:spPr>
          <a:xfrm>
            <a:off x="3911182" y="6129706"/>
            <a:ext cx="6554541" cy="923330"/>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www.forbes.com/sites/saibala/2023/09/04/bayer-is-rapidly-expanding-its-footprint-with-artificial-intelligence/?sh=305ab9a54df8</a:t>
            </a:r>
            <a:r>
              <a:rPr lang="en-US" sz="1000"/>
              <a:t> </a:t>
            </a:r>
            <a:r>
              <a:rPr lang="en-US" sz="1000">
                <a:hlinkClick r:id="rId7"/>
              </a:rPr>
              <a:t>https://www.prnewswire.com/news-releases/bayer-to-accelerate-drug-discovery-with-google-clouds-high-performance-compute-power-301719293.html</a:t>
            </a:r>
            <a:r>
              <a:rPr lang="en-US" sz="1000"/>
              <a:t> </a:t>
            </a:r>
          </a:p>
          <a:p>
            <a:pPr defTabSz="914400">
              <a:lnSpc>
                <a:spcPct val="90000"/>
              </a:lnSpc>
              <a:defRPr/>
            </a:pPr>
            <a:r>
              <a:rPr lang="en-US" sz="1000" b="1"/>
              <a:t>Publish Date: 9/2023</a:t>
            </a:r>
          </a:p>
          <a:p>
            <a:pPr defTabSz="914400">
              <a:lnSpc>
                <a:spcPct val="90000"/>
              </a:lnSpc>
              <a:defRPr/>
            </a:pPr>
            <a:endParaRPr lang="en-US" sz="1000"/>
          </a:p>
        </p:txBody>
      </p:sp>
      <p:sp>
        <p:nvSpPr>
          <p:cNvPr id="2" name="TextBox 1">
            <a:extLst>
              <a:ext uri="{FF2B5EF4-FFF2-40B4-BE49-F238E27FC236}">
                <a16:creationId xmlns:a16="http://schemas.microsoft.com/office/drawing/2014/main" id="{2342724D-E329-C9C6-5833-377BFFDB1718}"/>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398955AB-81B0-4FA3-D480-4B3B1BE409C2}"/>
              </a:ext>
            </a:extLst>
          </p:cNvPr>
          <p:cNvSpPr txBox="1"/>
          <p:nvPr/>
        </p:nvSpPr>
        <p:spPr>
          <a:xfrm>
            <a:off x="2190187" y="1658433"/>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Bayer</a:t>
            </a:r>
          </a:p>
        </p:txBody>
      </p:sp>
      <p:sp>
        <p:nvSpPr>
          <p:cNvPr id="15" name="TextBox 14">
            <a:extLst>
              <a:ext uri="{FF2B5EF4-FFF2-40B4-BE49-F238E27FC236}">
                <a16:creationId xmlns:a16="http://schemas.microsoft.com/office/drawing/2014/main" id="{6F583F9E-0DC3-B1DB-90DE-AACD9A44419E}"/>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1413834E-952B-E958-C0BB-8A05D5492128}"/>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edical Assista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6921A5A2-94BC-EE21-FE4F-88EA16200800}"/>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88</a:t>
            </a:r>
          </a:p>
        </p:txBody>
      </p:sp>
    </p:spTree>
    <p:extLst>
      <p:ext uri="{BB962C8B-B14F-4D97-AF65-F5344CB8AC3E}">
        <p14:creationId xmlns:p14="http://schemas.microsoft.com/office/powerpoint/2010/main" val="9612510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HCA Healthcare collaborates with Google Cloud to bring generative AI to hospital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HCA Healthcare, a healthcare provider, and Google Cloud announced a new collaboration designed to use generative AI technology to improve workflows on time-consuming tasks, such as clinical documentation, so physicians and nurses can focus more on patient care.</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384995"/>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Physicians use an Augmedix app on a hands-free device to create accurate and timely medical notes from clinician-patient conversations. Augmedix's proprietary platform then leverages natural language processing, along with Google Cloud’s generative AI technology and multi-party medical speech-to-text processing, to instantly convert the data into medical notes, which physicians review and finalize before they are transferred in real time to the hospital’s electronic health record (EHR).</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38058" y="4946608"/>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HCA Healthcare is implementing generative AI to improve patient handoffs between nurses, a manual and time-consuming process that promotes continuity, consistency, patient safety, and clinical quality, while saving nurses time and maintaining human oversight.</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22447"/>
            <a:ext cx="2138993" cy="523220"/>
          </a:xfrm>
          <a:prstGeom prst="rect">
            <a:avLst/>
          </a:prstGeom>
          <a:noFill/>
        </p:spPr>
        <p:txBody>
          <a:bodyPr wrap="square" rtlCol="0">
            <a:spAutoFit/>
          </a:bodyPr>
          <a:lstStyle/>
          <a:p>
            <a:pPr defTabSz="914400">
              <a:buClr>
                <a:srgbClr val="000000"/>
              </a:buClr>
              <a:defRPr/>
            </a:pPr>
            <a:r>
              <a:rPr lang="en-US" sz="1400" kern="0">
                <a:solidFill>
                  <a:srgbClr val="000000"/>
                </a:solidFill>
                <a:cs typeface="Arial"/>
                <a:sym typeface="Arial"/>
              </a:rPr>
              <a:t>Healthcare and Life sciences</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690382"/>
            <a:ext cx="1159984"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Google Cloud</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fficiency, Effectiveness, Safety, Qual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B1667F6F-229E-011F-F192-CE5381B1DC82}"/>
              </a:ext>
            </a:extLst>
          </p:cNvPr>
          <p:cNvSpPr txBox="1"/>
          <p:nvPr/>
        </p:nvSpPr>
        <p:spPr>
          <a:xfrm>
            <a:off x="3911182" y="6129706"/>
            <a:ext cx="6629356" cy="923330"/>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investor.hcahealthcare.com/news/news-details/2023/HCA-Healthcare-Collaborates-With-Google-Cloud-to-Bring-Generative-AI-to-Hospitals/default.aspx</a:t>
            </a:r>
            <a:r>
              <a:rPr lang="en-US" sz="1000"/>
              <a:t> </a:t>
            </a:r>
            <a:r>
              <a:rPr lang="en-US" sz="1000">
                <a:hlinkClick r:id="rId7"/>
              </a:rPr>
              <a:t>https://www.forbes.com/sites/saibala/2023/08/30/hca-one-of-the-largest-healthcare-organizations-in-the-world-is-deploying-generative-ai/?sh=3b1157df51dc</a:t>
            </a:r>
            <a:r>
              <a:rPr lang="en-US" sz="1000"/>
              <a:t> </a:t>
            </a:r>
          </a:p>
          <a:p>
            <a:pPr defTabSz="914400">
              <a:lnSpc>
                <a:spcPct val="90000"/>
              </a:lnSpc>
              <a:defRPr/>
            </a:pPr>
            <a:r>
              <a:rPr lang="en-US" sz="1000" b="1"/>
              <a:t>Publish Date: 8/2023</a:t>
            </a:r>
          </a:p>
          <a:p>
            <a:pPr defTabSz="914400">
              <a:lnSpc>
                <a:spcPct val="90000"/>
              </a:lnSpc>
              <a:defRPr/>
            </a:pPr>
            <a:endParaRPr lang="en-US" sz="1000"/>
          </a:p>
        </p:txBody>
      </p:sp>
      <p:sp>
        <p:nvSpPr>
          <p:cNvPr id="2" name="TextBox 1">
            <a:extLst>
              <a:ext uri="{FF2B5EF4-FFF2-40B4-BE49-F238E27FC236}">
                <a16:creationId xmlns:a16="http://schemas.microsoft.com/office/drawing/2014/main" id="{7F43C981-AA28-64D6-857F-3568833603F5}"/>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9F52C379-5BC2-B3E1-3FEE-75D574DB8054}"/>
              </a:ext>
            </a:extLst>
          </p:cNvPr>
          <p:cNvSpPr txBox="1"/>
          <p:nvPr/>
        </p:nvSpPr>
        <p:spPr>
          <a:xfrm>
            <a:off x="2190187" y="1685865"/>
            <a:ext cx="1505115"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HCA Healthcare</a:t>
            </a:r>
          </a:p>
        </p:txBody>
      </p:sp>
      <p:sp>
        <p:nvSpPr>
          <p:cNvPr id="15" name="TextBox 14">
            <a:extLst>
              <a:ext uri="{FF2B5EF4-FFF2-40B4-BE49-F238E27FC236}">
                <a16:creationId xmlns:a16="http://schemas.microsoft.com/office/drawing/2014/main" id="{BBD9D779-9511-B49A-2A7A-0AD04D5CA4AC}"/>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5C07838C-BFB8-2C4D-0C68-1897186F8650}"/>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edical Assista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29F15EAD-04A7-333E-67B9-3EA97161046F}"/>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89</a:t>
            </a:r>
          </a:p>
        </p:txBody>
      </p:sp>
    </p:spTree>
    <p:extLst>
      <p:ext uri="{BB962C8B-B14F-4D97-AF65-F5344CB8AC3E}">
        <p14:creationId xmlns:p14="http://schemas.microsoft.com/office/powerpoint/2010/main" val="11040850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26786"/>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658475"/>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243840" y="293270"/>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000" b="1" kern="0">
                <a:solidFill>
                  <a:srgbClr val="172A54"/>
                </a:solidFill>
                <a:latin typeface="Arial Black"/>
                <a:ea typeface="Arial Black"/>
                <a:cs typeface="Arial Black"/>
                <a:sym typeface="Arial Black"/>
              </a:rPr>
              <a:t>3M Health Information Systems amplify AI innovation and streamline clinical documentation proces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189694" y="1110572"/>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0924" y="1563781"/>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3M Health Information Systems (HIS) intended expedite, refine and scale clinical documentation and virtual assistant solutions in the healthcare sector; reduce administrative burden and distraction for physicians due to complex documentation tasks; and counter the lack of credible, usable, valuable technology-powered solutions at scale.</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20411" y="2935209"/>
            <a:ext cx="7956000"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3M Health Information Systems (HIS) collaborates with Amazon Web Services (AWS); utilizing AWS's Machine Learning (ML) and generative AI services including Amazon Bedrock, Amazon Comprehend Medical and Amazon Transcribe Medical; advancing 3M's conversational AI platform that supports cloud-based solutions like MModal Fluency Direct and MModal Fluency Align; integrating ML-based clinical documentation and virtual assistant solutions directly into workflow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311868" y="1242654"/>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20122" y="2707018"/>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Life Sciences</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36716" y="1737783"/>
            <a:ext cx="1565420"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AWS</a:t>
            </a:r>
            <a:endParaRPr lang="en-US" sz="1400" b="1" kern="0">
              <a:solidFill>
                <a:srgbClr val="000000"/>
              </a:solidFill>
              <a:cs typeface="Arial"/>
              <a:sym typeface="Arial"/>
            </a:endParaRPr>
          </a:p>
        </p:txBody>
      </p:sp>
      <p:sp>
        <p:nvSpPr>
          <p:cNvPr id="2" name="TextBox 1">
            <a:extLst>
              <a:ext uri="{FF2B5EF4-FFF2-40B4-BE49-F238E27FC236}">
                <a16:creationId xmlns:a16="http://schemas.microsoft.com/office/drawing/2014/main" id="{A9A1176E-2350-9C69-FF3C-C8723FF5B0AD}"/>
              </a:ext>
            </a:extLst>
          </p:cNvPr>
          <p:cNvSpPr txBox="1"/>
          <p:nvPr/>
        </p:nvSpPr>
        <p:spPr>
          <a:xfrm>
            <a:off x="3911182" y="6129706"/>
            <a:ext cx="6629356" cy="784830"/>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news.3m.com/2023-04-18-3M-Health-Information-Systems-collaborates-with-AWS-to-accelerate-AI-innovation-in-clinical-documentation</a:t>
            </a:r>
            <a:r>
              <a:rPr lang="en-US" sz="1000"/>
              <a:t> </a:t>
            </a:r>
          </a:p>
          <a:p>
            <a:pPr defTabSz="914400">
              <a:lnSpc>
                <a:spcPct val="90000"/>
              </a:lnSpc>
              <a:defRPr/>
            </a:pPr>
            <a:r>
              <a:rPr lang="en-US" sz="1000" b="1"/>
              <a:t>Publish Date: 4/2023</a:t>
            </a:r>
          </a:p>
          <a:p>
            <a:pPr defTabSz="914400">
              <a:lnSpc>
                <a:spcPct val="90000"/>
              </a:lnSpc>
              <a:defRPr/>
            </a:pPr>
            <a:endParaRPr lang="en-US" sz="1000"/>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43640" y="5774914"/>
            <a:ext cx="254097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Innovation</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9788"/>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D6A2D854-E8A9-2343-6EB5-08DC1C055919}"/>
              </a:ext>
            </a:extLst>
          </p:cNvPr>
          <p:cNvSpPr txBox="1"/>
          <p:nvPr/>
        </p:nvSpPr>
        <p:spPr>
          <a:xfrm>
            <a:off x="4043439" y="4879151"/>
            <a:ext cx="7946886"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proposed solution enhances patient-physician interactions by reducing administrative tasks, ensuring physician control over patient health records, and providing unobtrusive support for complex documentation tasks. It automates accurate EHR notes, allowing direct patient care, and offers affordable, consistent, secure, and accurate note-taking and documentation.</a:t>
            </a:r>
          </a:p>
        </p:txBody>
      </p:sp>
      <p:pic>
        <p:nvPicPr>
          <p:cNvPr id="2050" name="Picture 2" descr="3M Health Care | Bangalore">
            <a:extLst>
              <a:ext uri="{FF2B5EF4-FFF2-40B4-BE49-F238E27FC236}">
                <a16:creationId xmlns:a16="http://schemas.microsoft.com/office/drawing/2014/main" id="{C28C6604-1931-A911-73A3-5A64F7B7B5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93310" y="4172567"/>
            <a:ext cx="45719" cy="45719"/>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6D103874-C3D5-BE13-9C9E-8BB847BA3A47}"/>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E1430A3B-D5F1-A386-3332-BB490057B92E}"/>
              </a:ext>
            </a:extLst>
          </p:cNvPr>
          <p:cNvSpPr txBox="1"/>
          <p:nvPr/>
        </p:nvSpPr>
        <p:spPr>
          <a:xfrm>
            <a:off x="2190187" y="1768161"/>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3M</a:t>
            </a:r>
          </a:p>
        </p:txBody>
      </p:sp>
      <p:sp>
        <p:nvSpPr>
          <p:cNvPr id="14" name="TextBox 13">
            <a:extLst>
              <a:ext uri="{FF2B5EF4-FFF2-40B4-BE49-F238E27FC236}">
                <a16:creationId xmlns:a16="http://schemas.microsoft.com/office/drawing/2014/main" id="{4703E47E-1E51-AFBE-19F1-4EFCF0F87D02}"/>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FCCDA750-3B11-0B28-AFE6-16CD36E0442E}"/>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edical Assista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5FB11CA5-0D56-EBE6-F166-DE9DD10DB918}"/>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96</a:t>
            </a:r>
          </a:p>
        </p:txBody>
      </p:sp>
    </p:spTree>
    <p:extLst>
      <p:ext uri="{BB962C8B-B14F-4D97-AF65-F5344CB8AC3E}">
        <p14:creationId xmlns:p14="http://schemas.microsoft.com/office/powerpoint/2010/main" val="40907297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2500" b="1" kern="0">
                <a:solidFill>
                  <a:srgbClr val="172A54"/>
                </a:solidFill>
                <a:latin typeface="Arial Black"/>
                <a:ea typeface="Arial Black"/>
                <a:cs typeface="Arial Black"/>
                <a:sym typeface="Arial Black"/>
              </a:rPr>
              <a:t>MSCI expands partnership with Google Cloud to accelerate generative AI solutions for the investment industry</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MSCI has expanded its partnership with Google Cloud to develop generative AI solutions for the investment industry. These solutions, powered by Google Cloud's Vertex AI platform and climate technology like </a:t>
            </a:r>
            <a:r>
              <a:rPr lang="en-US" sz="1400" kern="0" err="1">
                <a:solidFill>
                  <a:srgbClr val="000000"/>
                </a:solidFill>
                <a:cs typeface="Arial"/>
                <a:sym typeface="Arial"/>
              </a:rPr>
              <a:t>BigQuery</a:t>
            </a:r>
            <a:r>
              <a:rPr lang="en-US" sz="1400" kern="0">
                <a:solidFill>
                  <a:srgbClr val="000000"/>
                </a:solidFill>
                <a:cs typeface="Arial"/>
                <a:sym typeface="Arial"/>
              </a:rPr>
              <a:t> Geospatial and Earth Engine, will assist clients in managing portfolio risks and opportunitie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43439" y="2993583"/>
            <a:ext cx="7911128" cy="1384995"/>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MSCI-Google Cloud Partnership will focus on three key areas:</a:t>
            </a:r>
          </a:p>
          <a:p>
            <a:pPr algn="just" defTabSz="914400">
              <a:buClr>
                <a:srgbClr val="000000"/>
              </a:buClr>
            </a:pPr>
            <a:r>
              <a:rPr lang="en-US" sz="1400" kern="0">
                <a:solidFill>
                  <a:srgbClr val="000000"/>
                </a:solidFill>
                <a:cs typeface="Arial"/>
                <a:sym typeface="Arial"/>
              </a:rPr>
              <a:t>• Risk Signals: Combines proprietary data and analytics with Google Cloud's AI solutions for portfolio and enterprise level risk overview.</a:t>
            </a:r>
          </a:p>
          <a:p>
            <a:pPr algn="just" defTabSz="914400">
              <a:buClr>
                <a:srgbClr val="000000"/>
              </a:buClr>
            </a:pPr>
            <a:r>
              <a:rPr lang="en-US" sz="1400" kern="0">
                <a:solidFill>
                  <a:srgbClr val="000000"/>
                </a:solidFill>
                <a:cs typeface="Arial"/>
                <a:sym typeface="Arial"/>
              </a:rPr>
              <a:t>• Conversational AI: Powers MSCI's new AI solution for portfolio and risk management.</a:t>
            </a:r>
          </a:p>
          <a:p>
            <a:pPr algn="just" defTabSz="914400">
              <a:buClr>
                <a:srgbClr val="000000"/>
              </a:buClr>
            </a:pPr>
            <a:r>
              <a:rPr lang="en-US" sz="1400" kern="0">
                <a:solidFill>
                  <a:srgbClr val="000000"/>
                </a:solidFill>
                <a:cs typeface="Arial"/>
                <a:sym typeface="Arial"/>
              </a:rPr>
              <a:t>• Climate Generative AI: Leverages Google Cloud's AI technologies to manage portfolio exposure to climate.</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MSCI aims to offer investors deeper data-driven insights, enhanced decision-making capabilities, and accelerated portfolio implementation. With the power of generative AI and LLMs, they are advancing towards their commitment to help investors build better portfolios with enhanced insight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Investment</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167800" y="1726958"/>
            <a:ext cx="1470331"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Google Cloud</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Business Agil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	</a:t>
            </a:r>
          </a:p>
        </p:txBody>
      </p:sp>
      <p:sp>
        <p:nvSpPr>
          <p:cNvPr id="3" name="TextBox 2">
            <a:extLst>
              <a:ext uri="{FF2B5EF4-FFF2-40B4-BE49-F238E27FC236}">
                <a16:creationId xmlns:a16="http://schemas.microsoft.com/office/drawing/2014/main" id="{7F305365-29CA-C7B5-6E3F-210DC60ACF6E}"/>
              </a:ext>
            </a:extLst>
          </p:cNvPr>
          <p:cNvSpPr txBox="1"/>
          <p:nvPr/>
        </p:nvSpPr>
        <p:spPr>
          <a:xfrm>
            <a:off x="3911182" y="6129706"/>
            <a:ext cx="6554541" cy="646331"/>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www.msci.com/documents/10199/1659a83e-ef20-6ddc-5b4f-1782900888b7</a:t>
            </a:r>
            <a:r>
              <a:rPr lang="en-US" sz="1000"/>
              <a:t> </a:t>
            </a:r>
          </a:p>
          <a:p>
            <a:pPr defTabSz="914400">
              <a:lnSpc>
                <a:spcPct val="90000"/>
              </a:lnSpc>
              <a:defRPr/>
            </a:pPr>
            <a:r>
              <a:rPr lang="en-US" sz="1000" b="1"/>
              <a:t>Publish Date: 8/2023</a:t>
            </a:r>
          </a:p>
          <a:p>
            <a:pPr defTabSz="914400">
              <a:lnSpc>
                <a:spcPct val="90000"/>
              </a:lnSpc>
              <a:defRPr/>
            </a:pPr>
            <a:endParaRPr lang="en-US" sz="1000"/>
          </a:p>
        </p:txBody>
      </p:sp>
      <p:sp>
        <p:nvSpPr>
          <p:cNvPr id="2" name="TextBox 1">
            <a:extLst>
              <a:ext uri="{FF2B5EF4-FFF2-40B4-BE49-F238E27FC236}">
                <a16:creationId xmlns:a16="http://schemas.microsoft.com/office/drawing/2014/main" id="{8C275B1D-3497-1C2D-A937-151608D42AD5}"/>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11FF11EB-0FD2-9955-00C0-D7A6853BFED7}"/>
              </a:ext>
            </a:extLst>
          </p:cNvPr>
          <p:cNvSpPr txBox="1"/>
          <p:nvPr/>
        </p:nvSpPr>
        <p:spPr>
          <a:xfrm>
            <a:off x="2190187" y="1722441"/>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MSCI</a:t>
            </a:r>
          </a:p>
        </p:txBody>
      </p:sp>
      <p:sp>
        <p:nvSpPr>
          <p:cNvPr id="15" name="TextBox 14">
            <a:extLst>
              <a:ext uri="{FF2B5EF4-FFF2-40B4-BE49-F238E27FC236}">
                <a16:creationId xmlns:a16="http://schemas.microsoft.com/office/drawing/2014/main" id="{E8A83B76-EA8D-C113-029A-573566691D5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60AFD7A3-3381-BC80-1030-669AFE6D746E}"/>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Medical Assista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485B9F8-9806-D2FC-8CAF-164905405243}"/>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84</a:t>
            </a:r>
          </a:p>
        </p:txBody>
      </p:sp>
    </p:spTree>
    <p:extLst>
      <p:ext uri="{BB962C8B-B14F-4D97-AF65-F5344CB8AC3E}">
        <p14:creationId xmlns:p14="http://schemas.microsoft.com/office/powerpoint/2010/main" val="17064406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257E0-F739-DD58-C0B7-649C78D50C4E}"/>
              </a:ext>
            </a:extLst>
          </p:cNvPr>
          <p:cNvSpPr>
            <a:spLocks noGrp="1"/>
          </p:cNvSpPr>
          <p:nvPr>
            <p:ph type="title"/>
          </p:nvPr>
        </p:nvSpPr>
        <p:spPr/>
        <p:txBody>
          <a:bodyPr/>
          <a:lstStyle/>
          <a:p>
            <a:r>
              <a:rPr lang="en-US"/>
              <a:t>Education Assistants</a:t>
            </a:r>
          </a:p>
        </p:txBody>
      </p:sp>
      <p:sp>
        <p:nvSpPr>
          <p:cNvPr id="4" name="TextBox 3">
            <a:extLst>
              <a:ext uri="{FF2B5EF4-FFF2-40B4-BE49-F238E27FC236}">
                <a16:creationId xmlns:a16="http://schemas.microsoft.com/office/drawing/2014/main" id="{EDE66638-E825-2C50-0ECA-9999E6B55C4B}"/>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21208652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Personalized Pathways: How Duolingo's AI scales individual learning for 500 million student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Duolingo, an educational technology company, has partnered with </a:t>
            </a:r>
            <a:r>
              <a:rPr lang="en-US" sz="1400" kern="0" err="1">
                <a:solidFill>
                  <a:srgbClr val="000000"/>
                </a:solidFill>
                <a:cs typeface="Arial"/>
                <a:sym typeface="Arial"/>
              </a:rPr>
              <a:t>OpenAI</a:t>
            </a:r>
            <a:r>
              <a:rPr lang="en-US" sz="1400" kern="0">
                <a:solidFill>
                  <a:srgbClr val="000000"/>
                </a:solidFill>
                <a:cs typeface="Arial"/>
                <a:sym typeface="Arial"/>
              </a:rPr>
              <a:t> to offer its latest language model, GPT-4, to its 500 million customers for personalized language tutoring, analyzing billions of daily exercises to enhance learning outcomes. Provide immersive, safe conversational experiences that keep users engaged in learning activitie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954107"/>
          </a:xfrm>
          <a:prstGeom prst="rect">
            <a:avLst/>
          </a:prstGeom>
          <a:noFill/>
        </p:spPr>
        <p:txBody>
          <a:bodyPr wrap="square" rtlCol="0">
            <a:spAutoFit/>
          </a:bodyPr>
          <a:lstStyle/>
          <a:p>
            <a:pPr defTabSz="914400">
              <a:buClr>
                <a:srgbClr val="000000"/>
              </a:buClr>
            </a:pPr>
            <a:r>
              <a:rPr lang="en-US" sz="1400" b="0" i="0" u="none" strike="noStrike">
                <a:solidFill>
                  <a:srgbClr val="000000"/>
                </a:solidFill>
                <a:effectLst/>
                <a:latin typeface="Arial" panose="020B0604020202020204" pitchFamily="34" charset="0"/>
              </a:rPr>
              <a:t>Duolingo has introduced two AI-backed features, 'Role Play' and 'Explain My Answer', as part of Duolingo Max, a subscription tier aimed at improving language learning. 'Explain My Answer' uses GPT-4 to provide detailed explanations, while 'Roleplay' provides an AI-powered conversation partner for learners to practice their skills in a safe environment.</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Duolingo generated sales of $369 million revenue in 2022, a 47% year-on-year increase over 2021. </a:t>
            </a:r>
            <a:endParaRPr lang="en-US" sz="1400" b="1" kern="0">
              <a:solidFill>
                <a:srgbClr val="00000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Education</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653806"/>
            <a:ext cx="1159984" cy="523220"/>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OpenAI GPT-4</a:t>
            </a:r>
            <a:endParaRPr lang="en-US" sz="1400" b="1" kern="0">
              <a:solidFill>
                <a:srgbClr val="000000"/>
              </a:solidFill>
              <a:cs typeface="Arial"/>
              <a:sym typeface="Arial"/>
            </a:endParaRPr>
          </a:p>
        </p:txBody>
      </p:sp>
      <p:sp>
        <p:nvSpPr>
          <p:cNvPr id="760" name="TextBox 759">
            <a:extLst>
              <a:ext uri="{FF2B5EF4-FFF2-40B4-BE49-F238E27FC236}">
                <a16:creationId xmlns:a16="http://schemas.microsoft.com/office/drawing/2014/main" id="{16F0A96B-3D1E-E8DF-AC52-46F2C43A756E}"/>
              </a:ext>
            </a:extLst>
          </p:cNvPr>
          <p:cNvSpPr txBox="1"/>
          <p:nvPr/>
        </p:nvSpPr>
        <p:spPr>
          <a:xfrm>
            <a:off x="2158099" y="1624981"/>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Duolingo</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660528" cy="433098"/>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Customer Experience, Customer Engagement</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CD53F8CF-6229-2233-414E-29773423F7CF}"/>
              </a:ext>
            </a:extLst>
          </p:cNvPr>
          <p:cNvSpPr txBox="1"/>
          <p:nvPr/>
        </p:nvSpPr>
        <p:spPr>
          <a:xfrm>
            <a:off x="3869619" y="5981565"/>
            <a:ext cx="6554541" cy="923330"/>
          </a:xfrm>
          <a:prstGeom prst="rect">
            <a:avLst/>
          </a:prstGeom>
          <a:noFill/>
        </p:spPr>
        <p:txBody>
          <a:bodyPr wrap="square" lIns="0" rIns="0" rtlCol="0">
            <a:spAutoFit/>
          </a:bodyPr>
          <a:lstStyle/>
          <a:p>
            <a:pPr defTabSz="914400">
              <a:lnSpc>
                <a:spcPct val="90000"/>
              </a:lnSpc>
              <a:defRPr/>
            </a:pPr>
            <a:r>
              <a:rPr lang="en-US" sz="1000" b="1"/>
              <a:t>Vendor Source: </a:t>
            </a:r>
            <a:r>
              <a:rPr lang="en-US" sz="1000">
                <a:hlinkClick r:id="rId6"/>
              </a:rPr>
              <a:t>https://blog.duolingo.com/duolingo-max/</a:t>
            </a:r>
            <a:r>
              <a:rPr lang="en-US" sz="1000"/>
              <a:t> </a:t>
            </a:r>
          </a:p>
          <a:p>
            <a:pPr defTabSz="914400">
              <a:lnSpc>
                <a:spcPct val="90000"/>
              </a:lnSpc>
              <a:defRPr/>
            </a:pPr>
            <a:r>
              <a:rPr lang="en-US" sz="1000" b="1"/>
              <a:t>Client/Other Source: </a:t>
            </a:r>
            <a:r>
              <a:rPr lang="en-US" sz="1000">
                <a:hlinkClick r:id="rId7"/>
              </a:rPr>
              <a:t>https://bernardmarr.com/the-amazing-ways-duolingo-is-using-ai-and-gpt-4/</a:t>
            </a:r>
            <a:r>
              <a:rPr lang="en-US" sz="1000"/>
              <a:t> , </a:t>
            </a:r>
            <a:r>
              <a:rPr lang="en-US" sz="1000">
                <a:hlinkClick r:id="rId8"/>
              </a:rPr>
              <a:t>https://rickhuckstep.medium.com/duolingos-use-of-chatgpt-for-a-personalised-customer-experience-f099e26c0638#:~:text=Duolingo%20g%20enerated%20sales%20of,fun%20and%20accessible%20to%20everyone</a:t>
            </a:r>
            <a:endParaRPr lang="en-US" sz="1000"/>
          </a:p>
          <a:p>
            <a:pPr defTabSz="914400">
              <a:lnSpc>
                <a:spcPct val="90000"/>
              </a:lnSpc>
              <a:defRPr/>
            </a:pPr>
            <a:r>
              <a:rPr lang="en-US" sz="1000" b="1"/>
              <a:t>Publish Date: </a:t>
            </a:r>
            <a:r>
              <a:rPr lang="en-US" sz="1000"/>
              <a:t>3</a:t>
            </a:r>
            <a:r>
              <a:rPr lang="en-US" sz="1000" b="1"/>
              <a:t>/</a:t>
            </a:r>
            <a:r>
              <a:rPr lang="en-US" sz="1000"/>
              <a:t>2023</a:t>
            </a:r>
          </a:p>
          <a:p>
            <a:pPr defTabSz="914400">
              <a:lnSpc>
                <a:spcPct val="90000"/>
              </a:lnSpc>
              <a:defRPr/>
            </a:pPr>
            <a:r>
              <a:rPr lang="en-US" sz="1000"/>
              <a:t>. </a:t>
            </a:r>
          </a:p>
        </p:txBody>
      </p:sp>
      <p:sp>
        <p:nvSpPr>
          <p:cNvPr id="2" name="TextBox 1">
            <a:extLst>
              <a:ext uri="{FF2B5EF4-FFF2-40B4-BE49-F238E27FC236}">
                <a16:creationId xmlns:a16="http://schemas.microsoft.com/office/drawing/2014/main" id="{393ED2D4-CFE4-AE77-BB40-334AF1600CBF}"/>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6F2607E5-1F66-5405-091F-9634EB3C50F2}"/>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4" name="TextBox 13">
            <a:extLst>
              <a:ext uri="{FF2B5EF4-FFF2-40B4-BE49-F238E27FC236}">
                <a16:creationId xmlns:a16="http://schemas.microsoft.com/office/drawing/2014/main" id="{C6F268FF-9AB4-1142-67C7-B16250D4F341}"/>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Education Assista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5" name="TextBox 14">
            <a:extLst>
              <a:ext uri="{FF2B5EF4-FFF2-40B4-BE49-F238E27FC236}">
                <a16:creationId xmlns:a16="http://schemas.microsoft.com/office/drawing/2014/main" id="{37257E3D-2E3A-38B9-E68E-19E1C6C686EA}"/>
              </a:ext>
            </a:extLst>
          </p:cNvPr>
          <p:cNvSpPr txBox="1"/>
          <p:nvPr/>
        </p:nvSpPr>
        <p:spPr>
          <a:xfrm>
            <a:off x="8770152" y="5876916"/>
            <a:ext cx="1665521" cy="338554"/>
          </a:xfrm>
          <a:prstGeom prst="rect">
            <a:avLst/>
          </a:prstGeom>
          <a:noFill/>
        </p:spPr>
        <p:txBody>
          <a:bodyPr wrap="none" lIns="0" rIns="0" rtlCol="0">
            <a:spAutoFit/>
          </a:bodyPr>
          <a:lstStyle/>
          <a:p>
            <a:pPr algn="l">
              <a:spcBef>
                <a:spcPts val="600"/>
              </a:spcBef>
            </a:pPr>
            <a:r>
              <a:rPr lang="en-US" sz="1600"/>
              <a:t>Case Study ID: 28</a:t>
            </a:r>
          </a:p>
        </p:txBody>
      </p:sp>
    </p:spTree>
    <p:extLst>
      <p:ext uri="{BB962C8B-B14F-4D97-AF65-F5344CB8AC3E}">
        <p14:creationId xmlns:p14="http://schemas.microsoft.com/office/powerpoint/2010/main" val="34287733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err="1">
                <a:solidFill>
                  <a:srgbClr val="172A54"/>
                </a:solidFill>
                <a:latin typeface="Arial Black"/>
                <a:ea typeface="Arial Black"/>
                <a:cs typeface="Arial Black"/>
                <a:sym typeface="Arial Black"/>
              </a:rPr>
              <a:t>Khanmigo</a:t>
            </a:r>
            <a:r>
              <a:rPr lang="en-US" sz="3200" b="1" kern="0">
                <a:solidFill>
                  <a:srgbClr val="172A54"/>
                </a:solidFill>
                <a:latin typeface="Arial Black"/>
                <a:ea typeface="Arial Black"/>
                <a:cs typeface="Arial Black"/>
                <a:sym typeface="Arial Black"/>
              </a:rPr>
              <a:t> to help you with homework</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Khan Academy is repurposing GPT for educational tutoring with a  goal to aid students in learning without promoting cheating.</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Khan’s approach: Answer queries without directly providing solution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Khan emphasizes the use of AI to address real-world educational challenge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3992161" y="2937295"/>
            <a:ext cx="7956000" cy="1600438"/>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Khanmigo enhances Khan Academy's Learning Experience by</a:t>
            </a:r>
          </a:p>
          <a:p>
            <a:pPr algn="just" defTabSz="914400">
              <a:buClr>
                <a:srgbClr val="000000"/>
              </a:buClr>
            </a:pPr>
            <a:r>
              <a:rPr lang="en-US" sz="1400" kern="0">
                <a:solidFill>
                  <a:srgbClr val="000000"/>
                </a:solidFill>
                <a:cs typeface="Arial"/>
                <a:sym typeface="Arial"/>
              </a:rPr>
              <a:t>• Assisting with math problems and code debugging.</a:t>
            </a:r>
          </a:p>
          <a:p>
            <a:pPr algn="just" defTabSz="914400">
              <a:buClr>
                <a:srgbClr val="000000"/>
              </a:buClr>
            </a:pPr>
            <a:r>
              <a:rPr lang="en-US" sz="1400" kern="0">
                <a:solidFill>
                  <a:srgbClr val="000000"/>
                </a:solidFill>
                <a:cs typeface="Arial"/>
                <a:sym typeface="Arial"/>
              </a:rPr>
              <a:t>• Engaging in debates and mimicking characters' voices.</a:t>
            </a:r>
          </a:p>
          <a:p>
            <a:pPr algn="just" defTabSz="914400">
              <a:buClr>
                <a:srgbClr val="000000"/>
              </a:buClr>
            </a:pPr>
            <a:r>
              <a:rPr lang="en-US" sz="1400" kern="0">
                <a:solidFill>
                  <a:srgbClr val="000000"/>
                </a:solidFill>
                <a:cs typeface="Arial"/>
                <a:sym typeface="Arial"/>
              </a:rPr>
              <a:t>• Covering multiple subjects, identifying coding problems swiftly.</a:t>
            </a:r>
          </a:p>
          <a:p>
            <a:pPr algn="just" defTabSz="914400">
              <a:buClr>
                <a:srgbClr val="000000"/>
              </a:buClr>
            </a:pPr>
            <a:r>
              <a:rPr lang="en-US" sz="1400" kern="0">
                <a:solidFill>
                  <a:srgbClr val="000000"/>
                </a:solidFill>
                <a:cs typeface="Arial"/>
                <a:sym typeface="Arial"/>
              </a:rPr>
              <a:t>• Monitoring conversations for inappropriate content and alerts parents/teachers while terminating the interaction.</a:t>
            </a:r>
          </a:p>
          <a:p>
            <a:pPr algn="just" defTabSz="914400">
              <a:buClr>
                <a:srgbClr val="000000"/>
              </a:buClr>
            </a:pPr>
            <a:r>
              <a:rPr lang="en-US" sz="1400" kern="0">
                <a:solidFill>
                  <a:srgbClr val="000000"/>
                </a:solidFill>
                <a:cs typeface="Arial"/>
                <a:sym typeface="Arial"/>
              </a:rPr>
              <a:t>• Encourages students to explain reasoning.</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is approach is unique because it provides answers to students’ questions without simply giving away the solutions. It aids students in learning without promoting cheating. Khan Academy plans to improve Khanmigo with long-term memory, student writing feedback, and multiuser interaction facilitation, including moderating debates.</a:t>
            </a:r>
            <a:endParaRPr lang="en-US" sz="1400" b="1" kern="0">
              <a:solidFill>
                <a:srgbClr val="00000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Education</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726958"/>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OpenAI</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Quality, Student Experience</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8" name="TextBox 7">
            <a:extLst>
              <a:ext uri="{FF2B5EF4-FFF2-40B4-BE49-F238E27FC236}">
                <a16:creationId xmlns:a16="http://schemas.microsoft.com/office/drawing/2014/main" id="{4569CBB4-5224-BB83-2E0B-F2E5A3ADC1D8}"/>
              </a:ext>
            </a:extLst>
          </p:cNvPr>
          <p:cNvSpPr txBox="1"/>
          <p:nvPr/>
        </p:nvSpPr>
        <p:spPr>
          <a:xfrm>
            <a:off x="3869618" y="6060349"/>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wonderfulengineering.com/khan-academy-is-working-on-a-version-of-gpt-called-khanmingo-to-help-you-with-homework/</a:t>
            </a:r>
            <a:endParaRPr lang="en-US" sz="1000"/>
          </a:p>
          <a:p>
            <a:pPr defTabSz="914400">
              <a:lnSpc>
                <a:spcPct val="90000"/>
              </a:lnSpc>
              <a:defRPr/>
            </a:pPr>
            <a:r>
              <a:rPr lang="en-US" sz="1000" b="1"/>
              <a:t>Publish Date: 5/</a:t>
            </a:r>
            <a:r>
              <a:rPr lang="en-US" sz="1000"/>
              <a:t>2023</a:t>
            </a:r>
          </a:p>
          <a:p>
            <a:pPr defTabSz="914400">
              <a:lnSpc>
                <a:spcPct val="90000"/>
              </a:lnSpc>
              <a:defRPr/>
            </a:pPr>
            <a:endParaRPr lang="en-US" sz="1000"/>
          </a:p>
        </p:txBody>
      </p:sp>
      <p:sp>
        <p:nvSpPr>
          <p:cNvPr id="2" name="TextBox 1">
            <a:extLst>
              <a:ext uri="{FF2B5EF4-FFF2-40B4-BE49-F238E27FC236}">
                <a16:creationId xmlns:a16="http://schemas.microsoft.com/office/drawing/2014/main" id="{0BCE6DEF-043E-3342-F0D8-01F1106FD29A}"/>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9130A4E3-029D-FF8F-B392-8BA289B6762E}"/>
              </a:ext>
            </a:extLst>
          </p:cNvPr>
          <p:cNvSpPr txBox="1"/>
          <p:nvPr/>
        </p:nvSpPr>
        <p:spPr>
          <a:xfrm>
            <a:off x="2229933" y="1724803"/>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Khan Academy</a:t>
            </a:r>
          </a:p>
        </p:txBody>
      </p:sp>
      <p:sp>
        <p:nvSpPr>
          <p:cNvPr id="14" name="TextBox 13">
            <a:extLst>
              <a:ext uri="{FF2B5EF4-FFF2-40B4-BE49-F238E27FC236}">
                <a16:creationId xmlns:a16="http://schemas.microsoft.com/office/drawing/2014/main" id="{BB130C05-A979-15B8-55E5-66717735867D}"/>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E5C89029-22EC-1221-0511-529B548C26E7}"/>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Education  Assista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54E5873B-9667-484F-3D3D-C06776D948AF}"/>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45</a:t>
            </a:r>
          </a:p>
        </p:txBody>
      </p:sp>
    </p:spTree>
    <p:extLst>
      <p:ext uri="{BB962C8B-B14F-4D97-AF65-F5344CB8AC3E}">
        <p14:creationId xmlns:p14="http://schemas.microsoft.com/office/powerpoint/2010/main" val="11534363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2800" b="1" kern="0">
                <a:solidFill>
                  <a:srgbClr val="172A54"/>
                </a:solidFill>
                <a:latin typeface="Arial Black"/>
                <a:ea typeface="Arial Black"/>
                <a:cs typeface="Arial Black"/>
                <a:sym typeface="Arial Black"/>
              </a:rPr>
              <a:t>Ericsson's Coding Buddy: How AI improved development speed and code quality</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software development involves limitations in productivity and efficiency due to complex tasks that require long time and effort, and errors may arise due to the intricacies of coding. Collaboration among developers are often manual. Other inefficiencies include suboptimal code refactoring, optimizations, documentation and testing.</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43439" y="2993583"/>
            <a:ext cx="7911128" cy="1600438"/>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Ericsson’s Coding Buddy use case delivered radical improvement to Ericsson’s software development by providing code generation, auto-completion, and smart suggestions, significantly boosting coding speed and efficiency. It employed advanced algorithms to detect and fix errors, ensuring higher code quality. With natural language processing, this solution also provided better code comprehension, aiding developers in understanding complex codebases. AI-powered tools automate repetitive tasks, streamlining the development process, enabling developers to deliver robust software solutions with increased productivity and accuracy.</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Immediate effect includes: Enhanced Code Quality, Increased Coding Speed and Efficiency, Streamlined Development Process, Optimized Code Refactoring</a:t>
            </a:r>
          </a:p>
          <a:p>
            <a:pPr algn="just" defTabSz="914400">
              <a:buClr>
                <a:srgbClr val="000000"/>
              </a:buClr>
            </a:pPr>
            <a:r>
              <a:rPr lang="en-US" sz="1400" kern="0">
                <a:solidFill>
                  <a:srgbClr val="000000"/>
                </a:solidFill>
                <a:cs typeface="Arial"/>
                <a:sym typeface="Arial"/>
              </a:rPr>
              <a:t>With higher adoption and maturity: Potential productivity increase of 20-30% - for a company with 25,000 developer</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Telecommunication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Quality, Cycle Time</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7F305365-29CA-C7B5-6E3F-210DC60ACF6E}"/>
              </a:ext>
            </a:extLst>
          </p:cNvPr>
          <p:cNvSpPr txBox="1"/>
          <p:nvPr/>
        </p:nvSpPr>
        <p:spPr>
          <a:xfrm>
            <a:off x="3911182" y="6129706"/>
            <a:ext cx="6554541" cy="646331"/>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www.ericsson.com/en/blog/2023/8/applied-generative-ai-for-enterprise</a:t>
            </a:r>
            <a:endParaRPr lang="en-US" sz="1000"/>
          </a:p>
          <a:p>
            <a:pPr defTabSz="914400">
              <a:lnSpc>
                <a:spcPct val="90000"/>
              </a:lnSpc>
              <a:defRPr/>
            </a:pPr>
            <a:r>
              <a:rPr lang="en-US" sz="1000" b="1"/>
              <a:t>Publish Date: 8/2023</a:t>
            </a:r>
          </a:p>
          <a:p>
            <a:pPr defTabSz="914400">
              <a:lnSpc>
                <a:spcPct val="90000"/>
              </a:lnSpc>
              <a:defRPr/>
            </a:pPr>
            <a:endParaRPr lang="en-US" sz="1000"/>
          </a:p>
        </p:txBody>
      </p:sp>
      <p:sp>
        <p:nvSpPr>
          <p:cNvPr id="2" name="TextBox 1">
            <a:extLst>
              <a:ext uri="{FF2B5EF4-FFF2-40B4-BE49-F238E27FC236}">
                <a16:creationId xmlns:a16="http://schemas.microsoft.com/office/drawing/2014/main" id="{8C275B1D-3497-1C2D-A937-151608D42AD5}"/>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5" name="TextBox 14">
            <a:extLst>
              <a:ext uri="{FF2B5EF4-FFF2-40B4-BE49-F238E27FC236}">
                <a16:creationId xmlns:a16="http://schemas.microsoft.com/office/drawing/2014/main" id="{E8A83B76-EA8D-C113-029A-573566691D5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60AFD7A3-3381-BC80-1030-669AFE6D746E}"/>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Coding Assista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485B9F8-9806-D2FC-8CAF-164905405243}"/>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35</a:t>
            </a:r>
          </a:p>
        </p:txBody>
      </p:sp>
      <p:sp>
        <p:nvSpPr>
          <p:cNvPr id="19" name="TextBox 18">
            <a:extLst>
              <a:ext uri="{FF2B5EF4-FFF2-40B4-BE49-F238E27FC236}">
                <a16:creationId xmlns:a16="http://schemas.microsoft.com/office/drawing/2014/main" id="{908584C9-8053-BAF4-2837-F31222763A77}"/>
              </a:ext>
            </a:extLst>
          </p:cNvPr>
          <p:cNvSpPr txBox="1"/>
          <p:nvPr/>
        </p:nvSpPr>
        <p:spPr>
          <a:xfrm>
            <a:off x="2144205" y="1761189"/>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Ericsson</a:t>
            </a:r>
          </a:p>
        </p:txBody>
      </p:sp>
      <p:sp>
        <p:nvSpPr>
          <p:cNvPr id="20" name="TextBox 19">
            <a:extLst>
              <a:ext uri="{FF2B5EF4-FFF2-40B4-BE49-F238E27FC236}">
                <a16:creationId xmlns:a16="http://schemas.microsoft.com/office/drawing/2014/main" id="{8BC02F85-542C-62AC-AE9B-960CD2FC3FDC}"/>
              </a:ext>
            </a:extLst>
          </p:cNvPr>
          <p:cNvSpPr txBox="1"/>
          <p:nvPr/>
        </p:nvSpPr>
        <p:spPr>
          <a:xfrm>
            <a:off x="243839" y="1744845"/>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OpenAI</a:t>
            </a:r>
            <a:endParaRPr lang="en-US" sz="1400" b="1" kern="0">
              <a:solidFill>
                <a:srgbClr val="000000"/>
              </a:solidFill>
              <a:cs typeface="Arial"/>
              <a:sym typeface="Arial"/>
            </a:endParaRPr>
          </a:p>
        </p:txBody>
      </p:sp>
    </p:spTree>
    <p:extLst>
      <p:ext uri="{BB962C8B-B14F-4D97-AF65-F5344CB8AC3E}">
        <p14:creationId xmlns:p14="http://schemas.microsoft.com/office/powerpoint/2010/main" val="8040947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257E0-F739-DD58-C0B7-649C78D50C4E}"/>
              </a:ext>
            </a:extLst>
          </p:cNvPr>
          <p:cNvSpPr>
            <a:spLocks noGrp="1"/>
          </p:cNvSpPr>
          <p:nvPr>
            <p:ph type="title"/>
          </p:nvPr>
        </p:nvSpPr>
        <p:spPr/>
        <p:txBody>
          <a:bodyPr/>
          <a:lstStyle/>
          <a:p>
            <a:r>
              <a:rPr lang="en-US"/>
              <a:t>Citizen Assistants</a:t>
            </a:r>
          </a:p>
        </p:txBody>
      </p:sp>
      <p:sp>
        <p:nvSpPr>
          <p:cNvPr id="3" name="TextBox 2">
            <a:extLst>
              <a:ext uri="{FF2B5EF4-FFF2-40B4-BE49-F238E27FC236}">
                <a16:creationId xmlns:a16="http://schemas.microsoft.com/office/drawing/2014/main" id="{57F3EDAC-B50F-53A3-E139-3E7EEF906A6D}"/>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39932293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err="1">
                <a:solidFill>
                  <a:srgbClr val="172A54"/>
                </a:solidFill>
                <a:latin typeface="Arial Black"/>
                <a:ea typeface="Arial Black"/>
                <a:cs typeface="Arial Black"/>
                <a:sym typeface="Arial Black"/>
              </a:rPr>
              <a:t>Jugalbandi</a:t>
            </a:r>
            <a:r>
              <a:rPr lang="en-US" sz="3200" b="1" kern="0">
                <a:solidFill>
                  <a:srgbClr val="172A54"/>
                </a:solidFill>
                <a:latin typeface="Arial Black"/>
                <a:ea typeface="Arial Black"/>
                <a:cs typeface="Arial Black"/>
                <a:sym typeface="Arial Black"/>
              </a:rPr>
              <a:t> aims to power conversational AI solutions in various domains </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 </a:t>
            </a:r>
            <a:r>
              <a:rPr lang="en-US" sz="1400" kern="0" err="1">
                <a:solidFill>
                  <a:srgbClr val="000000"/>
                </a:solidFill>
                <a:cs typeface="Arial"/>
                <a:sym typeface="Arial"/>
              </a:rPr>
              <a:t>Jugalbandi</a:t>
            </a:r>
            <a:r>
              <a:rPr lang="en-US" sz="1400" kern="0">
                <a:solidFill>
                  <a:srgbClr val="000000"/>
                </a:solidFill>
                <a:cs typeface="Arial"/>
                <a:sym typeface="Arial"/>
              </a:rPr>
              <a:t> is a free, open platform that combines large language models with Indian language translation models</a:t>
            </a:r>
          </a:p>
          <a:p>
            <a:pPr algn="just" defTabSz="914400">
              <a:buClr>
                <a:srgbClr val="000000"/>
              </a:buClr>
            </a:pPr>
            <a:r>
              <a:rPr lang="en-US" sz="1400" kern="0">
                <a:solidFill>
                  <a:srgbClr val="000000"/>
                </a:solidFill>
                <a:cs typeface="Arial"/>
                <a:sym typeface="Arial"/>
              </a:rPr>
              <a:t>• Operates under the Government of India's </a:t>
            </a:r>
            <a:r>
              <a:rPr lang="en-US" sz="1400" kern="0" err="1">
                <a:solidFill>
                  <a:srgbClr val="000000"/>
                </a:solidFill>
                <a:cs typeface="Arial"/>
                <a:sym typeface="Arial"/>
              </a:rPr>
              <a:t>Bhashini</a:t>
            </a:r>
            <a:r>
              <a:rPr lang="en-US" sz="1400" kern="0">
                <a:solidFill>
                  <a:srgbClr val="000000"/>
                </a:solidFill>
                <a:cs typeface="Arial"/>
                <a:sym typeface="Arial"/>
              </a:rPr>
              <a:t> mission.</a:t>
            </a:r>
          </a:p>
          <a:p>
            <a:pPr algn="just" defTabSz="914400">
              <a:buClr>
                <a:srgbClr val="000000"/>
              </a:buClr>
            </a:pPr>
            <a:r>
              <a:rPr lang="en-US" sz="1400" kern="0">
                <a:solidFill>
                  <a:srgbClr val="000000"/>
                </a:solidFill>
                <a:cs typeface="Arial"/>
                <a:sym typeface="Arial"/>
              </a:rPr>
              <a:t>• Aims to power conversational AI solutions in </a:t>
            </a:r>
            <a:r>
              <a:rPr lang="en-US" sz="1400" b="0" i="0">
                <a:solidFill>
                  <a:srgbClr val="282828"/>
                </a:solidFill>
                <a:effectLst/>
                <a:latin typeface="helvetica-w01-light"/>
              </a:rPr>
              <a:t>over 50 Indian languages across</a:t>
            </a:r>
            <a:r>
              <a:rPr lang="en-US" sz="1400" kern="0">
                <a:solidFill>
                  <a:srgbClr val="000000"/>
                </a:solidFill>
                <a:cs typeface="Arial"/>
                <a:sym typeface="Arial"/>
              </a:rPr>
              <a:t> various domain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3" y="2963452"/>
            <a:ext cx="7911128" cy="1600438"/>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 Major barriers include effective literacy, awareness of rights/benefits, and technology access.</a:t>
            </a:r>
          </a:p>
          <a:p>
            <a:pPr algn="just" defTabSz="914400">
              <a:buClr>
                <a:srgbClr val="000000"/>
              </a:buClr>
            </a:pPr>
            <a:r>
              <a:rPr lang="en-US" sz="1400" kern="0">
                <a:solidFill>
                  <a:srgbClr val="000000"/>
                </a:solidFill>
                <a:cs typeface="Arial"/>
                <a:sym typeface="Arial"/>
              </a:rPr>
              <a:t>• India's linguistic diversity with many languages and dialects adds to the complexity.</a:t>
            </a:r>
          </a:p>
          <a:p>
            <a:pPr algn="just" defTabSz="914400">
              <a:buClr>
                <a:srgbClr val="000000"/>
              </a:buClr>
            </a:pPr>
            <a:r>
              <a:rPr lang="en-US" sz="1400" kern="0">
                <a:solidFill>
                  <a:srgbClr val="000000"/>
                </a:solidFill>
                <a:cs typeface="Arial"/>
                <a:sym typeface="Arial"/>
              </a:rPr>
              <a:t>• Many Indians prefer speaking/listening over writing/reading.</a:t>
            </a:r>
          </a:p>
          <a:p>
            <a:pPr algn="just" defTabSz="914400">
              <a:buClr>
                <a:srgbClr val="000000"/>
              </a:buClr>
            </a:pPr>
            <a:r>
              <a:rPr lang="en-US" sz="1400" kern="0">
                <a:solidFill>
                  <a:srgbClr val="000000"/>
                </a:solidFill>
                <a:cs typeface="Arial"/>
                <a:sym typeface="Arial"/>
              </a:rPr>
              <a:t>• Due to these challenges, many government schemes don't effectively reach all citizens.</a:t>
            </a:r>
          </a:p>
          <a:p>
            <a:pPr algn="just" defTabSz="914400">
              <a:buClr>
                <a:srgbClr val="000000"/>
              </a:buClr>
            </a:pPr>
            <a:r>
              <a:rPr lang="en-US" sz="1400" kern="0">
                <a:solidFill>
                  <a:srgbClr val="000000"/>
                </a:solidFill>
                <a:cs typeface="Arial"/>
                <a:sym typeface="Arial"/>
              </a:rPr>
              <a:t>• Large language models and voice-to-voice translation can lead to major societal breakthroughs.</a:t>
            </a:r>
          </a:p>
          <a:p>
            <a:pPr algn="just" defTabSz="914400">
              <a:buClr>
                <a:srgbClr val="000000"/>
              </a:buClr>
            </a:pPr>
            <a:r>
              <a:rPr lang="en-US" sz="1400" kern="0">
                <a:solidFill>
                  <a:srgbClr val="000000"/>
                </a:solidFill>
                <a:cs typeface="Arial"/>
                <a:sym typeface="Arial"/>
              </a:rPr>
              <a:t>• These models can empower citizens across various sectors like justice, education, and health.</a:t>
            </a:r>
          </a:p>
          <a:p>
            <a:pPr algn="just" defTabSz="914400">
              <a:buClr>
                <a:srgbClr val="000000"/>
              </a:buClr>
            </a:pPr>
            <a:r>
              <a:rPr lang="en-US" sz="1400" kern="0">
                <a:solidFill>
                  <a:srgbClr val="000000"/>
                </a:solidFill>
                <a:cs typeface="Arial"/>
                <a:sym typeface="Arial"/>
              </a:rPr>
              <a:t>• Jugalbandi's Mission is to create a collaborative approach using these models.</a:t>
            </a:r>
            <a:endParaRPr lang="en-IN" sz="1400" b="1" kern="0">
              <a:solidFill>
                <a:srgbClr val="000000"/>
              </a:solidFill>
              <a:cs typeface="Arial"/>
              <a:sym typeface="Arial"/>
            </a:endParaRP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Propel India forward by ensuring the well-being and success of all its citizens </a:t>
            </a:r>
            <a:r>
              <a:rPr lang="en-US" sz="1400" b="0" i="0">
                <a:solidFill>
                  <a:srgbClr val="282828"/>
                </a:solidFill>
                <a:effectLst/>
                <a:latin typeface="helvetica-w01-light"/>
              </a:rPr>
              <a:t>by cutting through language and interaction barriers</a:t>
            </a:r>
            <a:r>
              <a:rPr lang="en-US" sz="1400" kern="0">
                <a:solidFill>
                  <a:srgbClr val="000000"/>
                </a:solidFill>
                <a:cs typeface="Arial"/>
                <a:sym typeface="Arial"/>
              </a:rPr>
              <a:t>.</a:t>
            </a:r>
            <a:endParaRPr lang="en-US" sz="1400" b="1" kern="0">
              <a:solidFill>
                <a:srgbClr val="00000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Government</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60" name="TextBox 759">
            <a:extLst>
              <a:ext uri="{FF2B5EF4-FFF2-40B4-BE49-F238E27FC236}">
                <a16:creationId xmlns:a16="http://schemas.microsoft.com/office/drawing/2014/main" id="{16F0A96B-3D1E-E8DF-AC52-46F2C43A756E}"/>
              </a:ext>
            </a:extLst>
          </p:cNvPr>
          <p:cNvSpPr txBox="1"/>
          <p:nvPr/>
        </p:nvSpPr>
        <p:spPr>
          <a:xfrm>
            <a:off x="2132126" y="1702675"/>
            <a:ext cx="1505115"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Government of India</a:t>
            </a:r>
          </a:p>
        </p:txBody>
      </p:sp>
      <p:sp>
        <p:nvSpPr>
          <p:cNvPr id="2" name="TextBox 1">
            <a:extLst>
              <a:ext uri="{FF2B5EF4-FFF2-40B4-BE49-F238E27FC236}">
                <a16:creationId xmlns:a16="http://schemas.microsoft.com/office/drawing/2014/main" id="{A9A1176E-2350-9C69-FF3C-C8723FF5B0AD}"/>
              </a:ext>
            </a:extLst>
          </p:cNvPr>
          <p:cNvSpPr txBox="1"/>
          <p:nvPr/>
        </p:nvSpPr>
        <p:spPr>
          <a:xfrm>
            <a:off x="3869619" y="6060349"/>
            <a:ext cx="6488954" cy="9233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endParaRPr lang="en-US" sz="1000" b="1"/>
          </a:p>
          <a:p>
            <a:pPr defTabSz="914400">
              <a:lnSpc>
                <a:spcPct val="90000"/>
              </a:lnSpc>
              <a:defRPr/>
            </a:pPr>
            <a:r>
              <a:rPr lang="en-US" sz="1000" b="1"/>
              <a:t>Client/Other Source: </a:t>
            </a:r>
            <a:r>
              <a:rPr lang="en-US" sz="1000"/>
              <a:t> </a:t>
            </a:r>
            <a:r>
              <a:rPr lang="en-US" sz="1000">
                <a:hlinkClick r:id="rId6"/>
              </a:rPr>
              <a:t>https://www.jugalbandi.ai/</a:t>
            </a:r>
            <a:r>
              <a:rPr lang="en-US" sz="1000"/>
              <a:t> </a:t>
            </a:r>
          </a:p>
          <a:p>
            <a:pPr defTabSz="914400">
              <a:lnSpc>
                <a:spcPct val="90000"/>
              </a:lnSpc>
              <a:defRPr/>
            </a:pPr>
            <a:endParaRPr lang="en-US" sz="1000" b="1"/>
          </a:p>
          <a:p>
            <a:pPr defTabSz="914400">
              <a:lnSpc>
                <a:spcPct val="90000"/>
              </a:lnSpc>
              <a:defRPr/>
            </a:pPr>
            <a:r>
              <a:rPr lang="en-US" sz="1000" b="1"/>
              <a:t>Publish Date: 6</a:t>
            </a:r>
            <a:r>
              <a:rPr lang="en-US" sz="1000"/>
              <a:t>/2023</a:t>
            </a:r>
          </a:p>
          <a:p>
            <a:pPr defTabSz="914400">
              <a:lnSpc>
                <a:spcPct val="90000"/>
              </a:lnSpc>
              <a:defRPr/>
            </a:pPr>
            <a:r>
              <a:rPr lang="en-US" sz="1000"/>
              <a:t>	</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433098"/>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Citizen Well Being, Citizen Access</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Game Changing Value: Industry Transformation</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Upend</a:t>
            </a:r>
          </a:p>
        </p:txBody>
      </p:sp>
      <p:sp>
        <p:nvSpPr>
          <p:cNvPr id="8" name="TextBox 7">
            <a:extLst>
              <a:ext uri="{FF2B5EF4-FFF2-40B4-BE49-F238E27FC236}">
                <a16:creationId xmlns:a16="http://schemas.microsoft.com/office/drawing/2014/main" id="{B4F67F47-8C0E-0011-EC92-02B3E97437C5}"/>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73DE584E-C416-3F93-12A9-228A0670F0F8}"/>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4" name="TextBox 13">
            <a:extLst>
              <a:ext uri="{FF2B5EF4-FFF2-40B4-BE49-F238E27FC236}">
                <a16:creationId xmlns:a16="http://schemas.microsoft.com/office/drawing/2014/main" id="{83FD8619-B922-5BF3-2A0D-C06884A81A4C}"/>
              </a:ext>
            </a:extLst>
          </p:cNvPr>
          <p:cNvSpPr txBox="1"/>
          <p:nvPr/>
        </p:nvSpPr>
        <p:spPr>
          <a:xfrm>
            <a:off x="2260291" y="2753118"/>
            <a:ext cx="1609328"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Citizen Assista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5" name="TextBox 14">
            <a:extLst>
              <a:ext uri="{FF2B5EF4-FFF2-40B4-BE49-F238E27FC236}">
                <a16:creationId xmlns:a16="http://schemas.microsoft.com/office/drawing/2014/main" id="{78D100CF-3B15-2E81-F5CF-8019A4D6C042}"/>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47</a:t>
            </a:r>
          </a:p>
        </p:txBody>
      </p:sp>
      <p:sp>
        <p:nvSpPr>
          <p:cNvPr id="16" name="TextBox 15">
            <a:extLst>
              <a:ext uri="{FF2B5EF4-FFF2-40B4-BE49-F238E27FC236}">
                <a16:creationId xmlns:a16="http://schemas.microsoft.com/office/drawing/2014/main" id="{A515A911-4A17-3977-171A-A1C5B383CCEE}"/>
              </a:ext>
            </a:extLst>
          </p:cNvPr>
          <p:cNvSpPr txBox="1"/>
          <p:nvPr/>
        </p:nvSpPr>
        <p:spPr>
          <a:xfrm>
            <a:off x="91440" y="1736102"/>
            <a:ext cx="1632049"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Microsoft Azure OpenAI</a:t>
            </a:r>
            <a:endParaRPr lang="en-US" sz="1400" b="1" kern="0">
              <a:solidFill>
                <a:srgbClr val="000000"/>
              </a:solidFill>
              <a:cs typeface="Arial"/>
              <a:sym typeface="Arial"/>
            </a:endParaRPr>
          </a:p>
        </p:txBody>
      </p:sp>
    </p:spTree>
    <p:extLst>
      <p:ext uri="{BB962C8B-B14F-4D97-AF65-F5344CB8AC3E}">
        <p14:creationId xmlns:p14="http://schemas.microsoft.com/office/powerpoint/2010/main" val="17846101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257E0-F739-DD58-C0B7-649C78D50C4E}"/>
              </a:ext>
            </a:extLst>
          </p:cNvPr>
          <p:cNvSpPr>
            <a:spLocks noGrp="1"/>
          </p:cNvSpPr>
          <p:nvPr>
            <p:ph type="title"/>
          </p:nvPr>
        </p:nvSpPr>
        <p:spPr/>
        <p:txBody>
          <a:bodyPr/>
          <a:lstStyle/>
          <a:p>
            <a:r>
              <a:rPr lang="en-US"/>
              <a:t>Conversational Interface</a:t>
            </a:r>
          </a:p>
        </p:txBody>
      </p:sp>
      <p:sp>
        <p:nvSpPr>
          <p:cNvPr id="4" name="TextBox 3">
            <a:extLst>
              <a:ext uri="{FF2B5EF4-FFF2-40B4-BE49-F238E27FC236}">
                <a16:creationId xmlns:a16="http://schemas.microsoft.com/office/drawing/2014/main" id="{C4443F61-F62F-DEAA-A08E-D9CB6749C304}"/>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29053896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KAYAK is now integrated on ChatGPT</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Metasearch engine owned and operated by Booking Holdings KAYAK’s integration on ChatGPT was proposed to act as a virtual travel assistant, allowing for more conversational interactions with KAYAK’s search engine. Users can head to ChatGPT and ask it questions in the same way they would ask a human.</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ChatGPT serves as a virtual travel assistant for KAYAK.</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Enables more conversational interactions with KAYAK's search engine.</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Natural language queries can be used, e.g., "Where can I fly to from NYC for under $500 in April".</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Responses are based on user's criteria and KAYAK’s historical travel data.</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is integration resulting in providing more intuitive search experiences, for travelers. Additionally, ChatGPT’s ability to understand and analyze natural language helps KAYAK provide more personalized recommendations on their platform. </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Hospitality</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598942"/>
            <a:ext cx="1159984" cy="523220"/>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ChatGPT Plug-in</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Customer Experience</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86E48F41-C47A-0D41-5B9B-14B585B9CBB5}"/>
              </a:ext>
            </a:extLst>
          </p:cNvPr>
          <p:cNvSpPr txBox="1"/>
          <p:nvPr/>
        </p:nvSpPr>
        <p:spPr>
          <a:xfrm>
            <a:off x="3869618" y="6060349"/>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a:t>
            </a:r>
            <a:r>
              <a:rPr lang="en-US" sz="1000"/>
              <a:t>: </a:t>
            </a:r>
            <a:r>
              <a:rPr lang="en-US" sz="1000">
                <a:hlinkClick r:id="rId6"/>
              </a:rPr>
              <a:t>https://www.kayak.com/news/kayak-chatgpt/</a:t>
            </a:r>
            <a:endParaRPr lang="en-US" sz="1000"/>
          </a:p>
          <a:p>
            <a:pPr defTabSz="914400">
              <a:lnSpc>
                <a:spcPct val="90000"/>
              </a:lnSpc>
              <a:defRPr/>
            </a:pPr>
            <a:r>
              <a:rPr lang="en-US" sz="1000" b="1"/>
              <a:t>Publish Date: 3/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AE022A80-6FC1-E54E-B612-C21139AE9129}"/>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912DC3D6-505F-8D92-A6AF-E338CBC27D7C}"/>
              </a:ext>
            </a:extLst>
          </p:cNvPr>
          <p:cNvSpPr txBox="1"/>
          <p:nvPr/>
        </p:nvSpPr>
        <p:spPr>
          <a:xfrm>
            <a:off x="2229933" y="1596787"/>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KAYAK</a:t>
            </a:r>
          </a:p>
        </p:txBody>
      </p:sp>
      <p:sp>
        <p:nvSpPr>
          <p:cNvPr id="14" name="TextBox 13">
            <a:extLst>
              <a:ext uri="{FF2B5EF4-FFF2-40B4-BE49-F238E27FC236}">
                <a16:creationId xmlns:a16="http://schemas.microsoft.com/office/drawing/2014/main" id="{59C4F9BC-E21A-5CBD-21E8-7770ABE83F7E}"/>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19FA5DFC-4F63-798E-4CE6-97B3CCAE423C}"/>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Conversational Interface</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936B6452-7CBE-355F-5DBA-3DD8A07973BE}"/>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27</a:t>
            </a:r>
          </a:p>
        </p:txBody>
      </p:sp>
    </p:spTree>
    <p:extLst>
      <p:ext uri="{BB962C8B-B14F-4D97-AF65-F5344CB8AC3E}">
        <p14:creationId xmlns:p14="http://schemas.microsoft.com/office/powerpoint/2010/main" val="15585481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257E0-F739-DD58-C0B7-649C78D50C4E}"/>
              </a:ext>
            </a:extLst>
          </p:cNvPr>
          <p:cNvSpPr>
            <a:spLocks noGrp="1"/>
          </p:cNvSpPr>
          <p:nvPr>
            <p:ph type="title"/>
          </p:nvPr>
        </p:nvSpPr>
        <p:spPr/>
        <p:txBody>
          <a:bodyPr/>
          <a:lstStyle/>
          <a:p>
            <a:r>
              <a:rPr lang="en-US"/>
              <a:t>Business Productivity</a:t>
            </a:r>
          </a:p>
        </p:txBody>
      </p:sp>
      <p:sp>
        <p:nvSpPr>
          <p:cNvPr id="4" name="TextBox 3">
            <a:extLst>
              <a:ext uri="{FF2B5EF4-FFF2-40B4-BE49-F238E27FC236}">
                <a16:creationId xmlns:a16="http://schemas.microsoft.com/office/drawing/2014/main" id="{5D050E52-AC9D-0DCE-503E-6813D24C0D19}"/>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27473681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25499" y="293316"/>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2500" b="1" kern="0">
                <a:solidFill>
                  <a:srgbClr val="172A54"/>
                </a:solidFill>
                <a:latin typeface="Arial Black"/>
                <a:ea typeface="Arial Black"/>
                <a:cs typeface="Arial Black"/>
                <a:sym typeface="Arial Black"/>
              </a:rPr>
              <a:t>Labor demographic decline challenges Japan; Generative AI boosts employee productivity and allows focus on human-only creative task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Panasonic’s Connect AI is being considered as a potential solution to boost employee productivity in Japan, amidst the country's declining labor demographic. It allows employees to focus on human-only creative task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384995"/>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Panasonic Connect introduced AI assistant, ConnectAI.</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Available to CEO down to most junior staff</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Used for drafting emails, coding, and information gathering.</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Available to all 12,500 employees in Japan.</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Launched on February 17, 2023.</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Rapid query growth; 5,000 questions daily as of May 2023</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Legal employees reduce reading time from 1 hour to 10 minute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IT surveys previously took a week to analyze, it now takes an hour.</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AI allows focus on human-only creative tasks.</a:t>
            </a:r>
            <a:endParaRPr lang="en-US" sz="1400" b="1" kern="0">
              <a:solidFill>
                <a:srgbClr val="00000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Electronic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60" name="TextBox 759">
            <a:extLst>
              <a:ext uri="{FF2B5EF4-FFF2-40B4-BE49-F238E27FC236}">
                <a16:creationId xmlns:a16="http://schemas.microsoft.com/office/drawing/2014/main" id="{16F0A96B-3D1E-E8DF-AC52-46F2C43A756E}"/>
              </a:ext>
            </a:extLst>
          </p:cNvPr>
          <p:cNvSpPr txBox="1"/>
          <p:nvPr/>
        </p:nvSpPr>
        <p:spPr>
          <a:xfrm>
            <a:off x="2136858" y="1615126"/>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Panasonic</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50783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ased Productivity, Faster Cycle Time</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4EC63240-BF75-2308-D599-2FDC34F4DA1D}"/>
              </a:ext>
            </a:extLst>
          </p:cNvPr>
          <p:cNvSpPr txBox="1"/>
          <p:nvPr/>
        </p:nvSpPr>
        <p:spPr>
          <a:xfrm>
            <a:off x="3869618" y="6060349"/>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news.microsoft.com/apac/features/not-if-but-when-why-japans-panasonic-connect-is-going-all-in-on-ai/</a:t>
            </a:r>
            <a:endParaRPr lang="en-US" sz="1000"/>
          </a:p>
          <a:p>
            <a:pPr defTabSz="914400">
              <a:lnSpc>
                <a:spcPct val="90000"/>
              </a:lnSpc>
              <a:defRPr/>
            </a:pPr>
            <a:r>
              <a:rPr lang="en-US" sz="1000" b="1"/>
              <a:t>Publish Date: 5/</a:t>
            </a:r>
            <a:r>
              <a:rPr lang="en-US" sz="1000"/>
              <a:t>2023</a:t>
            </a:r>
          </a:p>
          <a:p>
            <a:pPr defTabSz="914400">
              <a:lnSpc>
                <a:spcPct val="90000"/>
              </a:lnSpc>
              <a:defRPr/>
            </a:pPr>
            <a:endParaRPr lang="en-US" sz="1000"/>
          </a:p>
        </p:txBody>
      </p:sp>
      <p:sp>
        <p:nvSpPr>
          <p:cNvPr id="2" name="TextBox 1">
            <a:extLst>
              <a:ext uri="{FF2B5EF4-FFF2-40B4-BE49-F238E27FC236}">
                <a16:creationId xmlns:a16="http://schemas.microsoft.com/office/drawing/2014/main" id="{4C5D3364-034B-ADC6-4C14-7ADD187E9AAD}"/>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30FE37EA-D857-9A36-93B1-788C99E5D7E0}"/>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4" name="TextBox 13">
            <a:extLst>
              <a:ext uri="{FF2B5EF4-FFF2-40B4-BE49-F238E27FC236}">
                <a16:creationId xmlns:a16="http://schemas.microsoft.com/office/drawing/2014/main" id="{B66A67CF-DCFF-5322-D927-E7C1495A95E0}"/>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Business Productivity</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5" name="TextBox 14">
            <a:extLst>
              <a:ext uri="{FF2B5EF4-FFF2-40B4-BE49-F238E27FC236}">
                <a16:creationId xmlns:a16="http://schemas.microsoft.com/office/drawing/2014/main" id="{3D53E838-F96E-B9BB-17A7-C15EFD3A5702}"/>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16</a:t>
            </a:r>
          </a:p>
        </p:txBody>
      </p:sp>
      <p:sp>
        <p:nvSpPr>
          <p:cNvPr id="16" name="TextBox 15">
            <a:extLst>
              <a:ext uri="{FF2B5EF4-FFF2-40B4-BE49-F238E27FC236}">
                <a16:creationId xmlns:a16="http://schemas.microsoft.com/office/drawing/2014/main" id="{0D8086C0-EA81-F87B-D8C2-597714CEE04E}"/>
              </a:ext>
            </a:extLst>
          </p:cNvPr>
          <p:cNvSpPr txBox="1"/>
          <p:nvPr/>
        </p:nvSpPr>
        <p:spPr>
          <a:xfrm>
            <a:off x="262479" y="1672094"/>
            <a:ext cx="1578296" cy="523220"/>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Microsoft Azure OpenAI Service</a:t>
            </a:r>
            <a:endParaRPr lang="en-US" sz="1400" b="1" kern="0">
              <a:solidFill>
                <a:srgbClr val="000000"/>
              </a:solidFill>
              <a:cs typeface="Arial"/>
              <a:sym typeface="Arial"/>
            </a:endParaRPr>
          </a:p>
        </p:txBody>
      </p:sp>
    </p:spTree>
    <p:extLst>
      <p:ext uri="{BB962C8B-B14F-4D97-AF65-F5344CB8AC3E}">
        <p14:creationId xmlns:p14="http://schemas.microsoft.com/office/powerpoint/2010/main" val="21168461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How Deutsche Bank is piloting generative AI</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8824" y="1550138"/>
            <a:ext cx="7954975"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Deutsche Bank’s technology team is exploring and testing AI and generative AI use cases across divisions. Three focus area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Software code development for better developer productivity.</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AI chatbots for handling queries through unstructured data and voice.</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Speeding up risk calculation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3997385" y="2946802"/>
            <a:ext cx="7911128" cy="1600438"/>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Emphasizes the importance of collaborations with fintechs, start-ups, and large tech firm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Aims to integrate cloud-based AI solutions into application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Emphasizes the responsible use of AI: data privacy, transparent outcomes, and adherence to regulation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Avoids 'black box' machine learning algorithm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Incorporates a 'human in the loop' approach to minimize error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AI must adhere to data protection, anti-financial crime measures, and cybersecurity.</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Deutsche Bank anticipates better developer productivity and faster risk calculations at the end of the pilot</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1948553" cy="307777"/>
          </a:xfrm>
          <a:prstGeom prst="rect">
            <a:avLst/>
          </a:prstGeom>
          <a:noFill/>
        </p:spPr>
        <p:txBody>
          <a:bodyPr wrap="square" rtlCol="0">
            <a:spAutoFit/>
          </a:bodyPr>
          <a:lstStyle/>
          <a:p>
            <a:pPr defTabSz="914400">
              <a:buClr>
                <a:srgbClr val="000000"/>
              </a:buClr>
              <a:defRPr/>
            </a:pPr>
            <a:r>
              <a:rPr lang="en-US" sz="1400">
                <a:solidFill>
                  <a:schemeClr val="tx1"/>
                </a:solidFill>
              </a:rPr>
              <a:t>Banking</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68357" y="1731038"/>
            <a:ext cx="1463027" cy="523220"/>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Google, NVIDIA</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50783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Cycle Time, User Experience</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Game Changing Value: Industry Transformation</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D98F7BD0-47C9-3122-C3DD-E3FAD29A1408}"/>
              </a:ext>
            </a:extLst>
          </p:cNvPr>
          <p:cNvSpPr txBox="1"/>
          <p:nvPr/>
        </p:nvSpPr>
        <p:spPr>
          <a:xfrm>
            <a:off x="3869618" y="6060349"/>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s2.bl-1.com/h/dtClmy3q?url=https://analyticsindiamag.com/how-deutsche-bank-is-riding-the-generative-ai-wave/</a:t>
            </a:r>
            <a:endParaRPr lang="en-US" sz="1000"/>
          </a:p>
          <a:p>
            <a:pPr defTabSz="914400">
              <a:lnSpc>
                <a:spcPct val="90000"/>
              </a:lnSpc>
              <a:defRPr/>
            </a:pPr>
            <a:r>
              <a:rPr lang="en-US" sz="1000" b="1"/>
              <a:t>Publish Date: 8/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6B7631CC-C82D-F8EC-82D5-615BB4E3FC56}"/>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5" name="TextBox 14">
            <a:extLst>
              <a:ext uri="{FF2B5EF4-FFF2-40B4-BE49-F238E27FC236}">
                <a16:creationId xmlns:a16="http://schemas.microsoft.com/office/drawing/2014/main" id="{F636E518-2722-8EDB-3A84-A1BD34566DEF}"/>
              </a:ext>
            </a:extLst>
          </p:cNvPr>
          <p:cNvSpPr txBox="1"/>
          <p:nvPr/>
        </p:nvSpPr>
        <p:spPr>
          <a:xfrm>
            <a:off x="2229933" y="1697371"/>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Deutsche Bank</a:t>
            </a:r>
          </a:p>
        </p:txBody>
      </p:sp>
      <p:sp>
        <p:nvSpPr>
          <p:cNvPr id="16" name="TextBox 15">
            <a:extLst>
              <a:ext uri="{FF2B5EF4-FFF2-40B4-BE49-F238E27FC236}">
                <a16:creationId xmlns:a16="http://schemas.microsoft.com/office/drawing/2014/main" id="{6F20AF73-ED9E-F996-AD75-5E2F0BC9C967}"/>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7" name="TextBox 16">
            <a:extLst>
              <a:ext uri="{FF2B5EF4-FFF2-40B4-BE49-F238E27FC236}">
                <a16:creationId xmlns:a16="http://schemas.microsoft.com/office/drawing/2014/main" id="{FAD3FDE4-4C63-2C5E-F6B7-01D87940EC3A}"/>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Business Productivity</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8" name="TextBox 17">
            <a:extLst>
              <a:ext uri="{FF2B5EF4-FFF2-40B4-BE49-F238E27FC236}">
                <a16:creationId xmlns:a16="http://schemas.microsoft.com/office/drawing/2014/main" id="{2E3CACE9-CD08-2798-12F1-97A88908581C}"/>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40</a:t>
            </a:r>
          </a:p>
        </p:txBody>
      </p:sp>
    </p:spTree>
    <p:extLst>
      <p:ext uri="{BB962C8B-B14F-4D97-AF65-F5344CB8AC3E}">
        <p14:creationId xmlns:p14="http://schemas.microsoft.com/office/powerpoint/2010/main" val="10787670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Colgate-Palmolive’s generative AI chatbot</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Colgate-Palmolive, a consumer goods company is piloting a generative AI-enabled chatbot that marries digital shelf data curation with content creation, and it’s developed a cross-functional team for the closed-beta test. </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03791" y="2940905"/>
            <a:ext cx="7911128" cy="1600438"/>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This tool gathers data on pricing, stock levels, PDP content, search placement, ratings, reviews, competitor analysi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Answers conversational queries like sales data.</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Retrieves out-of-stock data such as out-of-stock frequencies at product level and duration of unavailability.</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Uses generative AI for optimized content creation.</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Informs product development ideas with optimal title length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523220"/>
          </a:xfrm>
          <a:prstGeom prst="rect">
            <a:avLst/>
          </a:prstGeom>
          <a:noFill/>
        </p:spPr>
        <p:txBody>
          <a:bodyPr wrap="square" rtlCol="0">
            <a:spAutoFit/>
          </a:bodyPr>
          <a:lstStyle/>
          <a:p>
            <a:pPr algn="just" defTabSz="914400">
              <a:buClr>
                <a:srgbClr val="000000"/>
              </a:buClr>
            </a:pPr>
            <a:r>
              <a:rPr lang="en-US" sz="1300" kern="0">
                <a:solidFill>
                  <a:srgbClr val="000000"/>
                </a:solidFill>
                <a:cs typeface="Arial"/>
                <a:sym typeface="Arial"/>
              </a:rPr>
              <a:t>This Pilot aims to democratize data and speed up insight utilization</a:t>
            </a:r>
            <a:r>
              <a:rPr lang="en-US" sz="1300" kern="0">
                <a:solidFill>
                  <a:srgbClr val="101010"/>
                </a:solidFill>
                <a:cs typeface="Arial"/>
                <a:sym typeface="Arial"/>
              </a:rPr>
              <a:t>. </a:t>
            </a:r>
            <a:r>
              <a:rPr lang="en-US" sz="1400" b="0" i="0">
                <a:solidFill>
                  <a:srgbClr val="101010"/>
                </a:solidFill>
                <a:effectLst/>
              </a:rPr>
              <a:t>It is a cross-functional initiative with the hope that faster, easier access to insights will help generate incremental revenue</a:t>
            </a:r>
            <a:endParaRPr lang="en-US" sz="1300" kern="0">
              <a:solidFill>
                <a:srgbClr val="101010"/>
              </a:solidFill>
              <a:cs typeface="Arial"/>
              <a:sym typeface="Arial"/>
            </a:endParaRP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CPG</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302102" y="1707285"/>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Profitero</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fficiency, Productiv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BF04B843-CF6C-DDE1-4741-86662AB8633E}"/>
              </a:ext>
            </a:extLst>
          </p:cNvPr>
          <p:cNvSpPr txBox="1"/>
          <p:nvPr/>
        </p:nvSpPr>
        <p:spPr>
          <a:xfrm>
            <a:off x="3869618" y="6060349"/>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consumergoods.com/colgate-palmolive-piloting-generative-ai-chatbot-potential-shape-product-development</a:t>
            </a:r>
            <a:endParaRPr lang="en-US" sz="1000"/>
          </a:p>
          <a:p>
            <a:pPr defTabSz="914400">
              <a:lnSpc>
                <a:spcPct val="90000"/>
              </a:lnSpc>
              <a:defRPr/>
            </a:pPr>
            <a:r>
              <a:rPr lang="en-US" sz="1000" b="1"/>
              <a:t>Publish Date: 8/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2DF523D4-3CCF-E908-79D6-36CAF918925D}"/>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C43E43E1-D52E-68F0-1634-6F05F5BCAE9B}"/>
              </a:ext>
            </a:extLst>
          </p:cNvPr>
          <p:cNvSpPr txBox="1"/>
          <p:nvPr/>
        </p:nvSpPr>
        <p:spPr>
          <a:xfrm>
            <a:off x="2229933" y="1697371"/>
            <a:ext cx="1505115"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Colgate- Palmolive</a:t>
            </a:r>
          </a:p>
        </p:txBody>
      </p:sp>
      <p:sp>
        <p:nvSpPr>
          <p:cNvPr id="15" name="TextBox 14">
            <a:extLst>
              <a:ext uri="{FF2B5EF4-FFF2-40B4-BE49-F238E27FC236}">
                <a16:creationId xmlns:a16="http://schemas.microsoft.com/office/drawing/2014/main" id="{11136676-4BD9-00C4-4E0F-BB17F7785B20}"/>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BC80787B-0BAB-4C5E-B30A-3A32F2386506}"/>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Business Productivity</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317429BD-69CE-2A16-D682-9B10BF284F3D}"/>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41</a:t>
            </a:r>
          </a:p>
        </p:txBody>
      </p:sp>
    </p:spTree>
    <p:extLst>
      <p:ext uri="{BB962C8B-B14F-4D97-AF65-F5344CB8AC3E}">
        <p14:creationId xmlns:p14="http://schemas.microsoft.com/office/powerpoint/2010/main" val="1687456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Brex provides real-time tangible insights to finance teams with OpenAI</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Brex, an AI-powered spend platform launched advanced AI-powered tools for CFOs and their teams, all built using advanced machine learning and natural language processing technology from OpenAI</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3" y="3002600"/>
            <a:ext cx="7911128" cy="1600438"/>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new features provided relevant insights on corporate spending and answer critical business questions in real-time.</a:t>
            </a:r>
          </a:p>
          <a:p>
            <a:pPr algn="just" defTabSz="914400">
              <a:buClr>
                <a:srgbClr val="000000"/>
              </a:buClr>
            </a:pPr>
            <a:r>
              <a:rPr lang="en-US" sz="1400" kern="0">
                <a:solidFill>
                  <a:srgbClr val="000000"/>
                </a:solidFill>
                <a:cs typeface="Arial"/>
                <a:sym typeface="Arial"/>
              </a:rPr>
              <a:t>Through the Brex Empower platform, finance leaders would have access to a chat interface that will provide them with complex, AI-powered insights. The natural language AI features will further enhance Brex Empower’s live budget capabilities and will be able to answer a wide range of questions related to the utilization of various budgets, insights on spend patterns, vendor trends, and more. </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It helps finance teams receive clear, tangible answers to business questions in real-time and empowers CFOs and their teams to make more informed decisions, and ultimately drives growth for their companie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defTabSz="914400">
              <a:buClr>
                <a:srgbClr val="000000"/>
              </a:buClr>
              <a:defRPr/>
            </a:pPr>
            <a:r>
              <a:rPr kumimoji="0" lang="en-US" sz="1400" b="0" i="0" u="none" strike="noStrike" kern="0" cap="none" spc="0" normalizeH="0" baseline="0" noProof="0">
                <a:ln>
                  <a:noFill/>
                </a:ln>
                <a:solidFill>
                  <a:srgbClr val="000000"/>
                </a:solidFill>
                <a:effectLst/>
                <a:uLnTx/>
                <a:uFillTx/>
                <a:cs typeface="Arial"/>
                <a:sym typeface="Arial"/>
              </a:rPr>
              <a:t>Financial Service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598942"/>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ChatGPT</a:t>
            </a:r>
            <a:endParaRPr lang="en-US" sz="1400" b="1" kern="0">
              <a:solidFill>
                <a:srgbClr val="000000"/>
              </a:solidFill>
              <a:cs typeface="Arial"/>
              <a:sym typeface="Arial"/>
            </a:endParaRPr>
          </a:p>
        </p:txBody>
      </p:sp>
      <p:sp>
        <p:nvSpPr>
          <p:cNvPr id="760" name="TextBox 759">
            <a:extLst>
              <a:ext uri="{FF2B5EF4-FFF2-40B4-BE49-F238E27FC236}">
                <a16:creationId xmlns:a16="http://schemas.microsoft.com/office/drawing/2014/main" id="{16F0A96B-3D1E-E8DF-AC52-46F2C43A756E}"/>
              </a:ext>
            </a:extLst>
          </p:cNvPr>
          <p:cNvSpPr txBox="1"/>
          <p:nvPr/>
        </p:nvSpPr>
        <p:spPr>
          <a:xfrm>
            <a:off x="2090039" y="1576166"/>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Brex</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Qual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21D80C25-5E91-3DFF-494C-CD6105D08086}"/>
              </a:ext>
            </a:extLst>
          </p:cNvPr>
          <p:cNvSpPr txBox="1"/>
          <p:nvPr/>
        </p:nvSpPr>
        <p:spPr>
          <a:xfrm>
            <a:off x="3869618" y="6060349"/>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www.brex.com/journal/press/brex-openai-ai-tools-for-finance-teams</a:t>
            </a:r>
            <a:endParaRPr lang="en-US" sz="1000"/>
          </a:p>
          <a:p>
            <a:pPr defTabSz="914400">
              <a:lnSpc>
                <a:spcPct val="90000"/>
              </a:lnSpc>
              <a:defRPr/>
            </a:pPr>
            <a:r>
              <a:rPr lang="en-US" sz="1000" b="1"/>
              <a:t>Publish Date: 3/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2D6B0D91-13FF-E34E-AAF2-E3A7E97A44A7}"/>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99CDC317-737D-0CE9-E89B-0EC37A79CED5}"/>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4" name="TextBox 13">
            <a:extLst>
              <a:ext uri="{FF2B5EF4-FFF2-40B4-BE49-F238E27FC236}">
                <a16:creationId xmlns:a16="http://schemas.microsoft.com/office/drawing/2014/main" id="{A8083ED3-21D6-A983-70BC-88DB578E4EDA}"/>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Business Productivity</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5" name="TextBox 14">
            <a:extLst>
              <a:ext uri="{FF2B5EF4-FFF2-40B4-BE49-F238E27FC236}">
                <a16:creationId xmlns:a16="http://schemas.microsoft.com/office/drawing/2014/main" id="{9AB4EAA3-4F22-7F21-BD25-22E9144E9074}"/>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51</a:t>
            </a:r>
          </a:p>
        </p:txBody>
      </p:sp>
    </p:spTree>
    <p:extLst>
      <p:ext uri="{BB962C8B-B14F-4D97-AF65-F5344CB8AC3E}">
        <p14:creationId xmlns:p14="http://schemas.microsoft.com/office/powerpoint/2010/main" val="27302607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Confluent boosts employee satisfaction and workplace efficiency with Glean</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Confluent, cloud-native data streaming platform grew from a team of 250 to 2,000+ employees in a matter of years and had an influx of distributed/hybrid teams. As they grew, it became increasingly difficult for employees to find the information they needed to do their jobs quickly.</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Implemented Glean solution that would act as a connective tissue between information sources, Confluent quickly worked to solve the challenge expressed. They promptly launched Glean to search across their 20+ existing systems and unlock enterprise-wide information access. Implementing required minimal lift yet had a significant impact.</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15k+ Hours saved monthly across all Confluent employees who used Glean</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13% Increase in Support teams positive survey (ESAT) results about information acces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gt;70% Active usage of Glean, higher than many other SaaS tools at Confluent</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defTabSz="914400">
              <a:buClr>
                <a:srgbClr val="000000"/>
              </a:buClr>
              <a:defRPr/>
            </a:pPr>
            <a:r>
              <a:rPr lang="en-US" sz="1400" kern="0">
                <a:solidFill>
                  <a:srgbClr val="000000"/>
                </a:solidFill>
                <a:cs typeface="Arial"/>
                <a:sym typeface="Arial"/>
              </a:rPr>
              <a:t>Computer Software</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653806"/>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Glean</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ffectiveness, Efficienc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BD2FAA12-C998-9AC5-3430-C8392CC58805}"/>
              </a:ext>
            </a:extLst>
          </p:cNvPr>
          <p:cNvSpPr txBox="1"/>
          <p:nvPr/>
        </p:nvSpPr>
        <p:spPr>
          <a:xfrm>
            <a:off x="3869618" y="6052720"/>
            <a:ext cx="6554541" cy="646331"/>
          </a:xfrm>
          <a:prstGeom prst="rect">
            <a:avLst/>
          </a:prstGeom>
          <a:noFill/>
        </p:spPr>
        <p:txBody>
          <a:bodyPr wrap="square" lIns="0" rIns="0" rtlCol="0">
            <a:spAutoFit/>
          </a:bodyPr>
          <a:lstStyle/>
          <a:p>
            <a:pPr defTabSz="914400">
              <a:lnSpc>
                <a:spcPct val="90000"/>
              </a:lnSpc>
              <a:defRPr/>
            </a:pPr>
            <a:r>
              <a:rPr lang="en-US" sz="1000" b="1"/>
              <a:t>Vendor Source:</a:t>
            </a:r>
            <a:endParaRPr lang="en-US" sz="1000"/>
          </a:p>
          <a:p>
            <a:pPr defTabSz="914400">
              <a:lnSpc>
                <a:spcPct val="90000"/>
              </a:lnSpc>
              <a:defRPr/>
            </a:pPr>
            <a:r>
              <a:rPr lang="en-US" sz="1000" b="1"/>
              <a:t>Client/Other Source: </a:t>
            </a:r>
            <a:r>
              <a:rPr lang="en-US" sz="1000">
                <a:hlinkClick r:id="rId6"/>
              </a:rPr>
              <a:t>https://assets-global.website-files.com/613513981b0efaf850830620/64547cda031839cd98c938f2_Confluent%20_%20Case%20Study_Final.pdf</a:t>
            </a:r>
            <a:endParaRPr lang="en-US" sz="1000"/>
          </a:p>
          <a:p>
            <a:pPr defTabSz="914400">
              <a:lnSpc>
                <a:spcPct val="90000"/>
              </a:lnSpc>
              <a:defRPr/>
            </a:pPr>
            <a:r>
              <a:rPr lang="en-US" sz="1000" b="1"/>
              <a:t>Publish Date: 05/2023</a:t>
            </a:r>
            <a:endParaRPr lang="en-US" sz="1000"/>
          </a:p>
        </p:txBody>
      </p:sp>
      <p:sp>
        <p:nvSpPr>
          <p:cNvPr id="2" name="TextBox 1">
            <a:extLst>
              <a:ext uri="{FF2B5EF4-FFF2-40B4-BE49-F238E27FC236}">
                <a16:creationId xmlns:a16="http://schemas.microsoft.com/office/drawing/2014/main" id="{11E59AD2-F916-CD72-36C6-697AAC10887A}"/>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DF61689F-AE26-FE40-28C3-67ABACDC23A9}"/>
              </a:ext>
            </a:extLst>
          </p:cNvPr>
          <p:cNvSpPr txBox="1"/>
          <p:nvPr/>
        </p:nvSpPr>
        <p:spPr>
          <a:xfrm>
            <a:off x="2190187" y="1649289"/>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Confluent</a:t>
            </a:r>
          </a:p>
        </p:txBody>
      </p:sp>
      <p:sp>
        <p:nvSpPr>
          <p:cNvPr id="15" name="TextBox 14">
            <a:extLst>
              <a:ext uri="{FF2B5EF4-FFF2-40B4-BE49-F238E27FC236}">
                <a16:creationId xmlns:a16="http://schemas.microsoft.com/office/drawing/2014/main" id="{4DA44B36-A855-6D8F-A720-64AC1B40BEDF}"/>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6D5E4677-6DE2-B95D-1B6E-EA3BFAC3B04D}"/>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Business Productivity</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033B931-9FDB-AAAD-7B41-65C4F1843887}"/>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78</a:t>
            </a:r>
          </a:p>
        </p:txBody>
      </p:sp>
    </p:spTree>
    <p:extLst>
      <p:ext uri="{BB962C8B-B14F-4D97-AF65-F5344CB8AC3E}">
        <p14:creationId xmlns:p14="http://schemas.microsoft.com/office/powerpoint/2010/main" val="8632257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Goldman Sachs is using ChatGPT-style AI in-house to assist developers with writing code</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Goldman Sachs wanted to experiment with generative AI tools internally to help its developers automatically generate and test code</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43439" y="2993583"/>
            <a:ext cx="7911128"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Goldman has invested heavily in turning the bank into a more technology-driven company in recent years. Developers are already using some of the assisted coding technology,” Argenti told CNBC’s Arjun Kharpal at the Goldman Sachs technology symposium </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In some cases, developers have been able to write as much as 40% of their code automatically using generative AI</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Financial Service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7F305365-29CA-C7B5-6E3F-210DC60ACF6E}"/>
              </a:ext>
            </a:extLst>
          </p:cNvPr>
          <p:cNvSpPr txBox="1"/>
          <p:nvPr/>
        </p:nvSpPr>
        <p:spPr>
          <a:xfrm>
            <a:off x="3911182" y="6129706"/>
            <a:ext cx="6554541" cy="784830"/>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www.cnbc.com/2023/03/22/goldman-sachs-experiments-with-chatgpt-like-ai-to-help-devs-write-code.html</a:t>
            </a:r>
            <a:endParaRPr lang="en-US" sz="1000"/>
          </a:p>
          <a:p>
            <a:pPr defTabSz="914400">
              <a:lnSpc>
                <a:spcPct val="90000"/>
              </a:lnSpc>
              <a:defRPr/>
            </a:pPr>
            <a:r>
              <a:rPr lang="en-US" sz="1000" b="1"/>
              <a:t>Publish Date: 03/2023</a:t>
            </a:r>
          </a:p>
          <a:p>
            <a:pPr defTabSz="914400">
              <a:lnSpc>
                <a:spcPct val="90000"/>
              </a:lnSpc>
              <a:defRPr/>
            </a:pPr>
            <a:endParaRPr lang="en-US" sz="1000"/>
          </a:p>
        </p:txBody>
      </p:sp>
      <p:sp>
        <p:nvSpPr>
          <p:cNvPr id="2" name="TextBox 1">
            <a:extLst>
              <a:ext uri="{FF2B5EF4-FFF2-40B4-BE49-F238E27FC236}">
                <a16:creationId xmlns:a16="http://schemas.microsoft.com/office/drawing/2014/main" id="{8C275B1D-3497-1C2D-A937-151608D42AD5}"/>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5" name="TextBox 14">
            <a:extLst>
              <a:ext uri="{FF2B5EF4-FFF2-40B4-BE49-F238E27FC236}">
                <a16:creationId xmlns:a16="http://schemas.microsoft.com/office/drawing/2014/main" id="{E8A83B76-EA8D-C113-029A-573566691D5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60AFD7A3-3381-BC80-1030-669AFE6D746E}"/>
              </a:ext>
            </a:extLst>
          </p:cNvPr>
          <p:cNvSpPr txBox="1"/>
          <p:nvPr/>
        </p:nvSpPr>
        <p:spPr>
          <a:xfrm>
            <a:off x="2229932" y="2753118"/>
            <a:ext cx="1681249"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Coding Assista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485B9F8-9806-D2FC-8CAF-164905405243}"/>
              </a:ext>
            </a:extLst>
          </p:cNvPr>
          <p:cNvSpPr txBox="1"/>
          <p:nvPr/>
        </p:nvSpPr>
        <p:spPr>
          <a:xfrm>
            <a:off x="8569828" y="5964515"/>
            <a:ext cx="1779333" cy="338554"/>
          </a:xfrm>
          <a:prstGeom prst="rect">
            <a:avLst/>
          </a:prstGeom>
          <a:noFill/>
        </p:spPr>
        <p:txBody>
          <a:bodyPr wrap="none" lIns="0" rIns="0" rtlCol="0">
            <a:spAutoFit/>
          </a:bodyPr>
          <a:lstStyle/>
          <a:p>
            <a:pPr algn="l">
              <a:spcBef>
                <a:spcPts val="600"/>
              </a:spcBef>
            </a:pPr>
            <a:r>
              <a:rPr lang="en-US" sz="1600"/>
              <a:t>Case Study ID: 102</a:t>
            </a:r>
          </a:p>
        </p:txBody>
      </p:sp>
      <p:sp>
        <p:nvSpPr>
          <p:cNvPr id="19" name="TextBox 18">
            <a:extLst>
              <a:ext uri="{FF2B5EF4-FFF2-40B4-BE49-F238E27FC236}">
                <a16:creationId xmlns:a16="http://schemas.microsoft.com/office/drawing/2014/main" id="{908584C9-8053-BAF4-2837-F31222763A77}"/>
              </a:ext>
            </a:extLst>
          </p:cNvPr>
          <p:cNvSpPr txBox="1"/>
          <p:nvPr/>
        </p:nvSpPr>
        <p:spPr>
          <a:xfrm>
            <a:off x="2083753" y="1655276"/>
            <a:ext cx="1840353"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Goldman Sachs</a:t>
            </a:r>
          </a:p>
        </p:txBody>
      </p:sp>
      <p:sp>
        <p:nvSpPr>
          <p:cNvPr id="20" name="TextBox 19">
            <a:extLst>
              <a:ext uri="{FF2B5EF4-FFF2-40B4-BE49-F238E27FC236}">
                <a16:creationId xmlns:a16="http://schemas.microsoft.com/office/drawing/2014/main" id="{8BC02F85-542C-62AC-AE9B-960CD2FC3FDC}"/>
              </a:ext>
            </a:extLst>
          </p:cNvPr>
          <p:cNvSpPr txBox="1"/>
          <p:nvPr/>
        </p:nvSpPr>
        <p:spPr>
          <a:xfrm>
            <a:off x="-37990" y="1625791"/>
            <a:ext cx="1630828"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ChatGPT</a:t>
            </a:r>
            <a:endParaRPr lang="en-US" sz="1400" b="1" kern="0">
              <a:solidFill>
                <a:srgbClr val="000000"/>
              </a:solidFill>
              <a:cs typeface="Arial"/>
              <a:sym typeface="Arial"/>
            </a:endParaRPr>
          </a:p>
        </p:txBody>
      </p:sp>
      <p:sp>
        <p:nvSpPr>
          <p:cNvPr id="8" name="Rectangle 7">
            <a:extLst>
              <a:ext uri="{FF2B5EF4-FFF2-40B4-BE49-F238E27FC236}">
                <a16:creationId xmlns:a16="http://schemas.microsoft.com/office/drawing/2014/main" id="{A68D5E23-72DC-7317-3E70-7D71B7BA80BC}"/>
              </a:ext>
            </a:extLst>
          </p:cNvPr>
          <p:cNvSpPr/>
          <p:nvPr/>
        </p:nvSpPr>
        <p:spPr>
          <a:xfrm>
            <a:off x="334496" y="5776431"/>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ffectiveness, Efficiency</a:t>
            </a:r>
          </a:p>
        </p:txBody>
      </p:sp>
    </p:spTree>
    <p:extLst>
      <p:ext uri="{BB962C8B-B14F-4D97-AF65-F5344CB8AC3E}">
        <p14:creationId xmlns:p14="http://schemas.microsoft.com/office/powerpoint/2010/main" val="7524267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2500" b="1" kern="0">
                <a:solidFill>
                  <a:srgbClr val="172A54"/>
                </a:solidFill>
                <a:latin typeface="Arial Black"/>
                <a:ea typeface="Arial Black"/>
                <a:cs typeface="Arial Black"/>
                <a:sym typeface="Arial Black"/>
              </a:rPr>
              <a:t>Lumen Technologies dives into Microsoft 365 Copilot to help enhance employee efficiency and customer relationship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Lumen Technologies, a multinational telecommunications company, is working with Microsoft to deploy Microsoft 365 Copilot to empower its approximately 30,000 employees to provide improved customer experiences with greater ease.</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Lumen is beta-testing Microsoft 365 Copilot as part of the Early Access Program (EAP). The tool is used by customer service teams to highlight policies, summarize tickets, and access repair instructions. Sales and customer experience teams use it to enhance customer communications, summarize actions, and create presentations. The tool also helps in creating new business proposals and statement-of-work, ensuring a consistent Lumen message and experience.</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Lumen Technologies aims to help enhance creativity, productivity and skills with real-time intelligent assistance</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Improve employee productivity by automating tedious tasks and providing powerful tools for data analysis and decision-making. </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Telecom</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608086"/>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Copilot</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fficiency, Effectiveness</a:t>
            </a: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624AAA51-3863-026E-21F5-92CF90B5A64D}"/>
              </a:ext>
            </a:extLst>
          </p:cNvPr>
          <p:cNvSpPr txBox="1"/>
          <p:nvPr/>
        </p:nvSpPr>
        <p:spPr>
          <a:xfrm>
            <a:off x="3869618" y="6052720"/>
            <a:ext cx="6554541" cy="923330"/>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www.fiercetelecom.com/telecom/lumen-tests-microsoft-generative-ai-tool-boost-customer-service</a:t>
            </a:r>
            <a:r>
              <a:rPr lang="en-US" sz="1000"/>
              <a:t>,</a:t>
            </a:r>
            <a:r>
              <a:rPr lang="en-US" sz="1000" b="1"/>
              <a:t> </a:t>
            </a:r>
            <a:r>
              <a:rPr lang="en-US" sz="1000" u="sng">
                <a:solidFill>
                  <a:srgbClr val="0000FF"/>
                </a:solidFill>
                <a:effectLst/>
                <a:latin typeface="Calibri" panose="020F0502020204030204" pitchFamily="34" charset="0"/>
                <a:ea typeface="Yu Gothic" panose="020B0400000000000000" pitchFamily="34" charset="-128"/>
                <a:hlinkClick r:id="rId7"/>
              </a:rPr>
              <a:t>https://news.lumen.com/lumen-technologies-dives-into-microsoft-365-copilot-to-help-enhance-employee-efficiency-and-customer-relationships</a:t>
            </a:r>
            <a:endParaRPr lang="en-US" sz="1000" u="sng">
              <a:solidFill>
                <a:srgbClr val="0000FF"/>
              </a:solidFill>
              <a:effectLst/>
              <a:latin typeface="Calibri" panose="020F0502020204030204" pitchFamily="34" charset="0"/>
              <a:ea typeface="Yu Gothic" panose="020B0400000000000000" pitchFamily="34" charset="-128"/>
            </a:endParaRPr>
          </a:p>
          <a:p>
            <a:pPr defTabSz="914400">
              <a:lnSpc>
                <a:spcPct val="90000"/>
              </a:lnSpc>
              <a:defRPr/>
            </a:pPr>
            <a:r>
              <a:rPr lang="en-US" sz="1000" b="1"/>
              <a:t>Publish Date: 8/2023</a:t>
            </a:r>
          </a:p>
          <a:p>
            <a:pPr defTabSz="914400">
              <a:lnSpc>
                <a:spcPct val="90000"/>
              </a:lnSpc>
              <a:defRPr/>
            </a:pPr>
            <a:endParaRPr lang="en-US" sz="1000"/>
          </a:p>
        </p:txBody>
      </p:sp>
      <p:sp>
        <p:nvSpPr>
          <p:cNvPr id="2" name="TextBox 1">
            <a:extLst>
              <a:ext uri="{FF2B5EF4-FFF2-40B4-BE49-F238E27FC236}">
                <a16:creationId xmlns:a16="http://schemas.microsoft.com/office/drawing/2014/main" id="{9BD3A160-3F27-0207-1E50-595E18452786}"/>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085AAEAD-B171-97C1-E5A2-E094BB1D9F30}"/>
              </a:ext>
            </a:extLst>
          </p:cNvPr>
          <p:cNvSpPr txBox="1"/>
          <p:nvPr/>
        </p:nvSpPr>
        <p:spPr>
          <a:xfrm>
            <a:off x="2190187" y="1603569"/>
            <a:ext cx="1505115"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Lumen Technologies</a:t>
            </a:r>
          </a:p>
        </p:txBody>
      </p:sp>
      <p:sp>
        <p:nvSpPr>
          <p:cNvPr id="15" name="TextBox 14">
            <a:extLst>
              <a:ext uri="{FF2B5EF4-FFF2-40B4-BE49-F238E27FC236}">
                <a16:creationId xmlns:a16="http://schemas.microsoft.com/office/drawing/2014/main" id="{975FA312-BFCA-D1AE-C21F-1C5681C6F1AE}"/>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BF823FC9-45CE-BEB2-32F2-5177D87ACB86}"/>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Business Productivity</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F2AF54E3-89D3-4D59-906A-EDEE987F15D5}"/>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82</a:t>
            </a:r>
          </a:p>
        </p:txBody>
      </p:sp>
    </p:spTree>
    <p:extLst>
      <p:ext uri="{BB962C8B-B14F-4D97-AF65-F5344CB8AC3E}">
        <p14:creationId xmlns:p14="http://schemas.microsoft.com/office/powerpoint/2010/main" val="6417389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Walmart includes generative AI tool in new employee ‘super app’</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Walmart, a big box retailer is giving its corporate employees an AI "assistant" tool to speed up productivity. Adding to their preexisting portfolio of Generative AI tools such as “Ask Sam”, etc.</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Walmart is expanding AI efforts in its workplace with a new AI "assistant." It's one of many generative AI tools the company has already employed across to its 50,000 corporate employees. It also hopes to implement the AI tool in employee orientations and to assist employees with selecting their annual benefits packages. </a:t>
            </a:r>
          </a:p>
          <a:p>
            <a:pPr algn="just" defTabSz="914400">
              <a:buClr>
                <a:srgbClr val="000000"/>
              </a:buClr>
            </a:pPr>
            <a:endParaRPr lang="en-US" sz="1400" kern="0">
              <a:solidFill>
                <a:srgbClr val="000000"/>
              </a:solidFill>
              <a:cs typeface="Arial"/>
              <a:sym typeface="Arial"/>
            </a:endParaRP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generative AI tool, which includes a "My Assistant" feature, will summarize documents and speed up creating and drafting projects</a:t>
            </a:r>
          </a:p>
          <a:p>
            <a:pPr algn="just" defTabSz="914400">
              <a:buClr>
                <a:srgbClr val="000000"/>
              </a:buClr>
            </a:pPr>
            <a:r>
              <a:rPr lang="en-US" sz="1400" kern="0">
                <a:solidFill>
                  <a:srgbClr val="000000"/>
                </a:solidFill>
                <a:cs typeface="Arial"/>
                <a:sym typeface="Arial"/>
              </a:rPr>
              <a:t>The goal of the app is to free up employees from monotonous, repetitive tasks, allowing more time and focus for improving the customer/member experience</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Retail</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62479" y="1699526"/>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Simplr</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fficiency, Innovation</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17D6FB62-D291-B75C-F5D5-0A8C7F30E283}"/>
              </a:ext>
            </a:extLst>
          </p:cNvPr>
          <p:cNvSpPr txBox="1"/>
          <p:nvPr/>
        </p:nvSpPr>
        <p:spPr>
          <a:xfrm>
            <a:off x="3869619" y="5925460"/>
            <a:ext cx="6554541" cy="1061829"/>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 </a:t>
            </a:r>
            <a:r>
              <a:rPr lang="en-US" sz="1000">
                <a:hlinkClick r:id="rId6"/>
              </a:rPr>
              <a:t>https://www.linkedin.com/news/story/walmart-intros-ai-app-for-employees-5747988/</a:t>
            </a:r>
            <a:r>
              <a:rPr lang="en-US" sz="1000"/>
              <a:t>, </a:t>
            </a:r>
            <a:r>
              <a:rPr lang="en-US" sz="1000">
                <a:hlinkClick r:id="rId7"/>
              </a:rPr>
              <a:t>https://www.businessinsider.in/retail/news/walmarts-corporate-employees-are-getting-a-generative-ai-assistant-while-amazon-and-apple-are-restricting-ai-in-the-workplace/articleshow/103220724.cms</a:t>
            </a:r>
            <a:r>
              <a:rPr lang="en-US" sz="1000"/>
              <a:t>, </a:t>
            </a:r>
            <a:r>
              <a:rPr lang="en-US" sz="1000">
                <a:hlinkClick r:id="rId8"/>
              </a:rPr>
              <a:t>https://chainstoreage.com/walmart-includes-generative-ai-tool-new-employee-super-app</a:t>
            </a:r>
            <a:r>
              <a:rPr lang="en-US" sz="1000"/>
              <a:t> </a:t>
            </a:r>
          </a:p>
          <a:p>
            <a:pPr defTabSz="914400">
              <a:lnSpc>
                <a:spcPct val="90000"/>
              </a:lnSpc>
              <a:defRPr/>
            </a:pPr>
            <a:r>
              <a:rPr lang="en-US" sz="1000" b="1"/>
              <a:t>Publish Date: 8/2023</a:t>
            </a:r>
          </a:p>
          <a:p>
            <a:pPr defTabSz="914400">
              <a:lnSpc>
                <a:spcPct val="90000"/>
              </a:lnSpc>
              <a:defRPr/>
            </a:pPr>
            <a:endParaRPr lang="en-US" sz="1000"/>
          </a:p>
        </p:txBody>
      </p:sp>
      <p:sp>
        <p:nvSpPr>
          <p:cNvPr id="2" name="TextBox 1">
            <a:extLst>
              <a:ext uri="{FF2B5EF4-FFF2-40B4-BE49-F238E27FC236}">
                <a16:creationId xmlns:a16="http://schemas.microsoft.com/office/drawing/2014/main" id="{97235958-778A-13E0-1597-D23B6F6461C2}"/>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30E296D6-18D8-0580-BDA3-5754251CDDB3}"/>
              </a:ext>
            </a:extLst>
          </p:cNvPr>
          <p:cNvSpPr txBox="1"/>
          <p:nvPr/>
        </p:nvSpPr>
        <p:spPr>
          <a:xfrm>
            <a:off x="2190187" y="1695009"/>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Walmart</a:t>
            </a:r>
          </a:p>
        </p:txBody>
      </p:sp>
      <p:sp>
        <p:nvSpPr>
          <p:cNvPr id="15" name="TextBox 14">
            <a:extLst>
              <a:ext uri="{FF2B5EF4-FFF2-40B4-BE49-F238E27FC236}">
                <a16:creationId xmlns:a16="http://schemas.microsoft.com/office/drawing/2014/main" id="{73DC1203-59FD-06E9-0CE4-2A2D673D8A8F}"/>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05205C52-03EE-5DC8-CCA0-7D60FBB9A139}"/>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Business Productivity</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A6A281AF-4411-D8EC-F844-EE38506F36B7}"/>
              </a:ext>
            </a:extLst>
          </p:cNvPr>
          <p:cNvSpPr txBox="1"/>
          <p:nvPr/>
        </p:nvSpPr>
        <p:spPr>
          <a:xfrm>
            <a:off x="10193641" y="5894376"/>
            <a:ext cx="1665521" cy="338554"/>
          </a:xfrm>
          <a:prstGeom prst="rect">
            <a:avLst/>
          </a:prstGeom>
          <a:noFill/>
        </p:spPr>
        <p:txBody>
          <a:bodyPr wrap="none" lIns="0" rIns="0" rtlCol="0">
            <a:spAutoFit/>
          </a:bodyPr>
          <a:lstStyle/>
          <a:p>
            <a:pPr algn="l">
              <a:spcBef>
                <a:spcPts val="600"/>
              </a:spcBef>
            </a:pPr>
            <a:r>
              <a:rPr lang="en-US" sz="1600"/>
              <a:t>Case Study ID: 81</a:t>
            </a:r>
          </a:p>
        </p:txBody>
      </p:sp>
    </p:spTree>
    <p:extLst>
      <p:ext uri="{BB962C8B-B14F-4D97-AF65-F5344CB8AC3E}">
        <p14:creationId xmlns:p14="http://schemas.microsoft.com/office/powerpoint/2010/main" val="41800739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2800" b="1" kern="0">
                <a:solidFill>
                  <a:srgbClr val="172A54"/>
                </a:solidFill>
                <a:latin typeface="Arial Black"/>
                <a:ea typeface="Arial Black"/>
                <a:cs typeface="Arial Black"/>
                <a:sym typeface="Arial Black"/>
              </a:rPr>
              <a:t>Ericsson’s AI Assistant: Enhancing work and communication</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892552"/>
          </a:xfrm>
          <a:prstGeom prst="rect">
            <a:avLst/>
          </a:prstGeom>
          <a:noFill/>
        </p:spPr>
        <p:txBody>
          <a:bodyPr wrap="square" rtlCol="0">
            <a:spAutoFit/>
          </a:bodyPr>
          <a:lstStyle/>
          <a:p>
            <a:pPr algn="just" defTabSz="914400">
              <a:buClr>
                <a:srgbClr val="000000"/>
              </a:buClr>
            </a:pPr>
            <a:r>
              <a:rPr lang="en-US" sz="1300" kern="0">
                <a:solidFill>
                  <a:srgbClr val="000000"/>
                </a:solidFill>
                <a:cs typeface="Arial"/>
                <a:sym typeface="Arial"/>
              </a:rPr>
              <a:t>Employees often spend time in managing their workload, maintaining productivity, and staying up-to-date with the latest information and resources. There is a need for a real-time assistance, automating repetitive tasks, and offering “personalized intelligence”. This ultimately would empower employees to achieve their professional goals, be productive and efficient, and have access to intelligence on demand.</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43439" y="2993583"/>
            <a:ext cx="7911128" cy="1600438"/>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Ericsson built an advanced AI personal assistant tailored for its employees. It utilizes natural language processing and machine learning algorithms to understand users' requests, tasks, and communication patterns. The assistant automates repetitive tasks, helps in communication, and provides contextual answers. It seamlessly integrates into business information/documents, ensuring relevancy of answers. Robust data screening and access are in place to safeguard sensitive information. This intelligent assistant became an indispensable productivity tool, helping employees manage workloads, stay organized, and achieve their goals. </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widespread adoption of IA in Ericsson led to significant productivity gains through task automation, optimized workflows, and personalized insights. Real-time NLP based answers improved communication, broke information asymmetry and data-driven decision-making. Ericsson saw a higher levels of performance in many employee role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Telecommunications</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Quality</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7F305365-29CA-C7B5-6E3F-210DC60ACF6E}"/>
              </a:ext>
            </a:extLst>
          </p:cNvPr>
          <p:cNvSpPr txBox="1"/>
          <p:nvPr/>
        </p:nvSpPr>
        <p:spPr>
          <a:xfrm>
            <a:off x="3911182" y="6129706"/>
            <a:ext cx="6554541" cy="646331"/>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www.ericsson.com/en/blog/2023/8/applied-generative-ai-for-enterprise</a:t>
            </a:r>
            <a:endParaRPr lang="en-US" sz="1000"/>
          </a:p>
          <a:p>
            <a:pPr defTabSz="914400">
              <a:lnSpc>
                <a:spcPct val="90000"/>
              </a:lnSpc>
              <a:defRPr/>
            </a:pPr>
            <a:r>
              <a:rPr lang="en-US" sz="1000" b="1"/>
              <a:t>Publish Date: 8/2023</a:t>
            </a:r>
          </a:p>
          <a:p>
            <a:pPr defTabSz="914400">
              <a:lnSpc>
                <a:spcPct val="90000"/>
              </a:lnSpc>
              <a:defRPr/>
            </a:pPr>
            <a:endParaRPr lang="en-US" sz="1000"/>
          </a:p>
        </p:txBody>
      </p:sp>
      <p:sp>
        <p:nvSpPr>
          <p:cNvPr id="2" name="TextBox 1">
            <a:extLst>
              <a:ext uri="{FF2B5EF4-FFF2-40B4-BE49-F238E27FC236}">
                <a16:creationId xmlns:a16="http://schemas.microsoft.com/office/drawing/2014/main" id="{8C275B1D-3497-1C2D-A937-151608D42AD5}"/>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5" name="TextBox 14">
            <a:extLst>
              <a:ext uri="{FF2B5EF4-FFF2-40B4-BE49-F238E27FC236}">
                <a16:creationId xmlns:a16="http://schemas.microsoft.com/office/drawing/2014/main" id="{E8A83B76-EA8D-C113-029A-573566691D5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60AFD7A3-3381-BC80-1030-669AFE6D746E}"/>
              </a:ext>
            </a:extLst>
          </p:cNvPr>
          <p:cNvSpPr txBox="1"/>
          <p:nvPr/>
        </p:nvSpPr>
        <p:spPr>
          <a:xfrm>
            <a:off x="2260291" y="2753118"/>
            <a:ext cx="178314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Business Productivity</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485B9F8-9806-D2FC-8CAF-164905405243}"/>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36</a:t>
            </a:r>
          </a:p>
        </p:txBody>
      </p:sp>
      <p:sp>
        <p:nvSpPr>
          <p:cNvPr id="19" name="TextBox 18">
            <a:extLst>
              <a:ext uri="{FF2B5EF4-FFF2-40B4-BE49-F238E27FC236}">
                <a16:creationId xmlns:a16="http://schemas.microsoft.com/office/drawing/2014/main" id="{908584C9-8053-BAF4-2837-F31222763A77}"/>
              </a:ext>
            </a:extLst>
          </p:cNvPr>
          <p:cNvSpPr txBox="1"/>
          <p:nvPr/>
        </p:nvSpPr>
        <p:spPr>
          <a:xfrm>
            <a:off x="2196340" y="1642928"/>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Ericsson</a:t>
            </a:r>
          </a:p>
        </p:txBody>
      </p:sp>
      <p:sp>
        <p:nvSpPr>
          <p:cNvPr id="20" name="TextBox 19">
            <a:extLst>
              <a:ext uri="{FF2B5EF4-FFF2-40B4-BE49-F238E27FC236}">
                <a16:creationId xmlns:a16="http://schemas.microsoft.com/office/drawing/2014/main" id="{8BC02F85-542C-62AC-AE9B-960CD2FC3FDC}"/>
              </a:ext>
            </a:extLst>
          </p:cNvPr>
          <p:cNvSpPr txBox="1"/>
          <p:nvPr/>
        </p:nvSpPr>
        <p:spPr>
          <a:xfrm>
            <a:off x="201624" y="1636667"/>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OpenAI</a:t>
            </a:r>
            <a:endParaRPr lang="en-US" sz="1400" b="1" kern="0">
              <a:solidFill>
                <a:srgbClr val="000000"/>
              </a:solidFill>
              <a:cs typeface="Arial"/>
              <a:sym typeface="Arial"/>
            </a:endParaRPr>
          </a:p>
        </p:txBody>
      </p:sp>
    </p:spTree>
    <p:extLst>
      <p:ext uri="{BB962C8B-B14F-4D97-AF65-F5344CB8AC3E}">
        <p14:creationId xmlns:p14="http://schemas.microsoft.com/office/powerpoint/2010/main" val="14162739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AXA deploys in-house GPT platform for staff</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In response to risks associated with the use of open tools, AXA has developed its own generative artificial intelligence platform that AXA staff can securely access to generate, summarize, translate, and correct texts, images, and code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43439" y="2993583"/>
            <a:ext cx="7911128" cy="1600438"/>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new internal platform was developed by AXA’s in-house experts and was built on Microsoft’s Azure OpenAI Service. It will allow employees of the insurer to leverage the transformative technologies of generative AI and large language models without the fear of security breaches and data leaks.</a:t>
            </a:r>
          </a:p>
          <a:p>
            <a:pPr algn="just" defTabSz="914400">
              <a:buClr>
                <a:srgbClr val="000000"/>
              </a:buClr>
            </a:pPr>
            <a:endParaRPr lang="en-US" sz="1400" kern="0">
              <a:solidFill>
                <a:srgbClr val="000000"/>
              </a:solidFill>
              <a:cs typeface="Arial"/>
              <a:sym typeface="Arial"/>
            </a:endParaRPr>
          </a:p>
          <a:p>
            <a:pPr algn="just" defTabSz="914400">
              <a:buClr>
                <a:srgbClr val="000000"/>
              </a:buClr>
            </a:pPr>
            <a:r>
              <a:rPr lang="en-US" sz="1400" kern="0">
                <a:solidFill>
                  <a:srgbClr val="000000"/>
                </a:solidFill>
                <a:cs typeface="Arial"/>
                <a:sym typeface="Arial"/>
              </a:rPr>
              <a:t>Currently, the service is available to 1,000 colleagues within AXA group operations. The plan is to roll out AXA Secure GPT to all 140,000 AXA employees around the world in the coming month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Use of open tools can lead to serious issues, including data leaks, security breaches, and loss of intellectual property. AXA has once again demonstrated its ability to innovate fast, leveraging our cloud-based infrastructure. By doing so, AXA is becoming one of the first global insurers to develop such a platform at scale while managing potential risk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Insurance</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433098"/>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Quality of process, Governance efficacy, Employee value</a:t>
            </a:r>
            <a:endParaRPr lang="en-IN" sz="12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7F305365-29CA-C7B5-6E3F-210DC60ACF6E}"/>
              </a:ext>
            </a:extLst>
          </p:cNvPr>
          <p:cNvSpPr txBox="1"/>
          <p:nvPr/>
        </p:nvSpPr>
        <p:spPr>
          <a:xfrm>
            <a:off x="3911182" y="6129706"/>
            <a:ext cx="6554541" cy="784830"/>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www.insurancebusinessmag.com/us/news/technology/axa-deploys-inhouse-gpt-platform-for-staff-454321.aspx</a:t>
            </a:r>
            <a:endParaRPr lang="en-US" sz="1000"/>
          </a:p>
          <a:p>
            <a:pPr defTabSz="914400">
              <a:lnSpc>
                <a:spcPct val="90000"/>
              </a:lnSpc>
              <a:defRPr/>
            </a:pPr>
            <a:r>
              <a:rPr lang="en-US" sz="1000" b="1"/>
              <a:t>Publish Date: 07/2023</a:t>
            </a:r>
          </a:p>
          <a:p>
            <a:pPr defTabSz="914400">
              <a:lnSpc>
                <a:spcPct val="90000"/>
              </a:lnSpc>
              <a:defRPr/>
            </a:pPr>
            <a:endParaRPr lang="en-US" sz="1000"/>
          </a:p>
        </p:txBody>
      </p:sp>
      <p:sp>
        <p:nvSpPr>
          <p:cNvPr id="2" name="TextBox 1">
            <a:extLst>
              <a:ext uri="{FF2B5EF4-FFF2-40B4-BE49-F238E27FC236}">
                <a16:creationId xmlns:a16="http://schemas.microsoft.com/office/drawing/2014/main" id="{8C275B1D-3497-1C2D-A937-151608D42AD5}"/>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5" name="TextBox 14">
            <a:extLst>
              <a:ext uri="{FF2B5EF4-FFF2-40B4-BE49-F238E27FC236}">
                <a16:creationId xmlns:a16="http://schemas.microsoft.com/office/drawing/2014/main" id="{E8A83B76-EA8D-C113-029A-573566691D5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60AFD7A3-3381-BC80-1030-669AFE6D746E}"/>
              </a:ext>
            </a:extLst>
          </p:cNvPr>
          <p:cNvSpPr txBox="1"/>
          <p:nvPr/>
        </p:nvSpPr>
        <p:spPr>
          <a:xfrm>
            <a:off x="2229932" y="2753118"/>
            <a:ext cx="1681249"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Business Productivity</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485B9F8-9806-D2FC-8CAF-164905405243}"/>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98</a:t>
            </a:r>
          </a:p>
        </p:txBody>
      </p:sp>
      <p:sp>
        <p:nvSpPr>
          <p:cNvPr id="19" name="TextBox 18">
            <a:extLst>
              <a:ext uri="{FF2B5EF4-FFF2-40B4-BE49-F238E27FC236}">
                <a16:creationId xmlns:a16="http://schemas.microsoft.com/office/drawing/2014/main" id="{908584C9-8053-BAF4-2837-F31222763A77}"/>
              </a:ext>
            </a:extLst>
          </p:cNvPr>
          <p:cNvSpPr txBox="1"/>
          <p:nvPr/>
        </p:nvSpPr>
        <p:spPr>
          <a:xfrm>
            <a:off x="2150526" y="1762200"/>
            <a:ext cx="1840353"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AXA Life Insurance</a:t>
            </a:r>
          </a:p>
        </p:txBody>
      </p:sp>
      <p:sp>
        <p:nvSpPr>
          <p:cNvPr id="8" name="TextBox 7">
            <a:extLst>
              <a:ext uri="{FF2B5EF4-FFF2-40B4-BE49-F238E27FC236}">
                <a16:creationId xmlns:a16="http://schemas.microsoft.com/office/drawing/2014/main" id="{ED978AFB-137C-91AC-0778-E7E2C0C60A24}"/>
              </a:ext>
            </a:extLst>
          </p:cNvPr>
          <p:cNvSpPr txBox="1"/>
          <p:nvPr/>
        </p:nvSpPr>
        <p:spPr>
          <a:xfrm>
            <a:off x="59622" y="1740234"/>
            <a:ext cx="1792224"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Microsoft Azure OpenAI Service</a:t>
            </a:r>
            <a:endParaRPr lang="en-US" sz="1400" b="1" kern="0">
              <a:solidFill>
                <a:srgbClr val="000000"/>
              </a:solidFill>
              <a:cs typeface="Arial"/>
              <a:sym typeface="Arial"/>
            </a:endParaRPr>
          </a:p>
        </p:txBody>
      </p:sp>
    </p:spTree>
    <p:extLst>
      <p:ext uri="{BB962C8B-B14F-4D97-AF65-F5344CB8AC3E}">
        <p14:creationId xmlns:p14="http://schemas.microsoft.com/office/powerpoint/2010/main" val="26522606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err="1">
                <a:solidFill>
                  <a:srgbClr val="172A54"/>
                </a:solidFill>
                <a:latin typeface="Arial Black"/>
                <a:ea typeface="Arial Black"/>
                <a:cs typeface="Arial Black"/>
                <a:sym typeface="Arial Black"/>
              </a:rPr>
              <a:t>PageGroup</a:t>
            </a:r>
            <a:r>
              <a:rPr lang="en-US" sz="3200" b="1" kern="0">
                <a:solidFill>
                  <a:srgbClr val="172A54"/>
                </a:solidFill>
                <a:latin typeface="Arial Black"/>
                <a:ea typeface="Arial Black"/>
                <a:cs typeface="Arial Black"/>
                <a:sym typeface="Arial Black"/>
              </a:rPr>
              <a:t> reduced the time for writing job descriptions from 20 - 90 minutes to 5 minute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At </a:t>
            </a:r>
            <a:r>
              <a:rPr lang="en-US" sz="1400" kern="0" err="1">
                <a:solidFill>
                  <a:srgbClr val="000000"/>
                </a:solidFill>
                <a:cs typeface="Arial"/>
                <a:sym typeface="Arial"/>
              </a:rPr>
              <a:t>PageGroup</a:t>
            </a:r>
            <a:r>
              <a:rPr lang="en-US" sz="1400" kern="0">
                <a:solidFill>
                  <a:srgbClr val="000000"/>
                </a:solidFill>
                <a:cs typeface="Arial"/>
                <a:sym typeface="Arial"/>
              </a:rPr>
              <a:t>, a leading European job recruiting firm, it took anywhere from 20 minutes to 90 minutes to write a job description. With over 8,000 recruiters, they had a lot of jobs to fill and a lot of descriptions to write.</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43439" y="2993583"/>
            <a:ext cx="7911128"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PageGroup experimented early with generative AI and had an AI-ready data foundation (more on that later). Their fast-cycle data lab had a rule - 28 days to a solution or you are out. Their ambition: audacious goals, and the courage to experiment </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30777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Generative AI did it in 5 minutes. From 20 minutes to five minutes for every single job description.</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Recruiting</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a:t>
            </a:r>
          </a:p>
        </p:txBody>
      </p:sp>
      <p:sp>
        <p:nvSpPr>
          <p:cNvPr id="3" name="TextBox 2">
            <a:extLst>
              <a:ext uri="{FF2B5EF4-FFF2-40B4-BE49-F238E27FC236}">
                <a16:creationId xmlns:a16="http://schemas.microsoft.com/office/drawing/2014/main" id="{7F305365-29CA-C7B5-6E3F-210DC60ACF6E}"/>
              </a:ext>
            </a:extLst>
          </p:cNvPr>
          <p:cNvSpPr txBox="1"/>
          <p:nvPr/>
        </p:nvSpPr>
        <p:spPr>
          <a:xfrm>
            <a:off x="3911182" y="6129706"/>
            <a:ext cx="6554541" cy="646331"/>
          </a:xfrm>
          <a:prstGeom prst="rect">
            <a:avLst/>
          </a:prstGeom>
          <a:noFill/>
        </p:spPr>
        <p:txBody>
          <a:bodyPr wrap="square" lIns="0" rIns="0" rtlCol="0">
            <a:spAutoFit/>
          </a:bodyPr>
          <a:lstStyle/>
          <a:p>
            <a:pPr defTabSz="914400">
              <a:lnSpc>
                <a:spcPct val="90000"/>
              </a:lnSpc>
              <a:defRPr/>
            </a:pPr>
            <a:r>
              <a:rPr lang="en-US" sz="1000" b="1"/>
              <a:t>Vendor Source</a:t>
            </a:r>
            <a:r>
              <a:rPr lang="en-US" sz="1000"/>
              <a:t>: NA</a:t>
            </a:r>
          </a:p>
          <a:p>
            <a:pPr defTabSz="914400">
              <a:lnSpc>
                <a:spcPct val="90000"/>
              </a:lnSpc>
              <a:defRPr/>
            </a:pPr>
            <a:r>
              <a:rPr lang="en-US" sz="1000" b="1"/>
              <a:t>Client/Other Source</a:t>
            </a:r>
            <a:r>
              <a:rPr lang="en-US" sz="1000"/>
              <a:t>: </a:t>
            </a:r>
            <a:r>
              <a:rPr lang="en-US" sz="1000">
                <a:hlinkClick r:id="rId6"/>
              </a:rPr>
              <a:t>https://www.gartner.com/document/4912631?ref=solrAll&amp;refval=393830742&amp;</a:t>
            </a:r>
            <a:endParaRPr lang="en-US" sz="1000"/>
          </a:p>
          <a:p>
            <a:pPr defTabSz="914400">
              <a:lnSpc>
                <a:spcPct val="90000"/>
              </a:lnSpc>
              <a:defRPr/>
            </a:pPr>
            <a:r>
              <a:rPr lang="en-US" sz="1000" b="1"/>
              <a:t>Publish Date: 08/2023</a:t>
            </a:r>
          </a:p>
          <a:p>
            <a:pPr defTabSz="914400">
              <a:lnSpc>
                <a:spcPct val="90000"/>
              </a:lnSpc>
              <a:defRPr/>
            </a:pPr>
            <a:endParaRPr lang="en-US" sz="1000"/>
          </a:p>
        </p:txBody>
      </p:sp>
      <p:sp>
        <p:nvSpPr>
          <p:cNvPr id="2" name="TextBox 1">
            <a:extLst>
              <a:ext uri="{FF2B5EF4-FFF2-40B4-BE49-F238E27FC236}">
                <a16:creationId xmlns:a16="http://schemas.microsoft.com/office/drawing/2014/main" id="{8C275B1D-3497-1C2D-A937-151608D42AD5}"/>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5" name="TextBox 14">
            <a:extLst>
              <a:ext uri="{FF2B5EF4-FFF2-40B4-BE49-F238E27FC236}">
                <a16:creationId xmlns:a16="http://schemas.microsoft.com/office/drawing/2014/main" id="{E8A83B76-EA8D-C113-029A-573566691D5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6" name="TextBox 15">
            <a:extLst>
              <a:ext uri="{FF2B5EF4-FFF2-40B4-BE49-F238E27FC236}">
                <a16:creationId xmlns:a16="http://schemas.microsoft.com/office/drawing/2014/main" id="{60AFD7A3-3381-BC80-1030-669AFE6D746E}"/>
              </a:ext>
            </a:extLst>
          </p:cNvPr>
          <p:cNvSpPr txBox="1"/>
          <p:nvPr/>
        </p:nvSpPr>
        <p:spPr>
          <a:xfrm>
            <a:off x="2229932" y="2753118"/>
            <a:ext cx="1681249"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Business Productivity</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7" name="TextBox 16">
            <a:extLst>
              <a:ext uri="{FF2B5EF4-FFF2-40B4-BE49-F238E27FC236}">
                <a16:creationId xmlns:a16="http://schemas.microsoft.com/office/drawing/2014/main" id="{9485B9F8-9806-D2FC-8CAF-164905405243}"/>
              </a:ext>
            </a:extLst>
          </p:cNvPr>
          <p:cNvSpPr txBox="1"/>
          <p:nvPr/>
        </p:nvSpPr>
        <p:spPr>
          <a:xfrm>
            <a:off x="8569828" y="5964515"/>
            <a:ext cx="1779333" cy="338554"/>
          </a:xfrm>
          <a:prstGeom prst="rect">
            <a:avLst/>
          </a:prstGeom>
          <a:noFill/>
        </p:spPr>
        <p:txBody>
          <a:bodyPr wrap="none" lIns="0" rIns="0" rtlCol="0">
            <a:spAutoFit/>
          </a:bodyPr>
          <a:lstStyle/>
          <a:p>
            <a:pPr algn="l">
              <a:spcBef>
                <a:spcPts val="600"/>
              </a:spcBef>
            </a:pPr>
            <a:r>
              <a:rPr lang="en-US" sz="1600"/>
              <a:t>Case Study ID: 106</a:t>
            </a:r>
          </a:p>
        </p:txBody>
      </p:sp>
      <p:sp>
        <p:nvSpPr>
          <p:cNvPr id="19" name="TextBox 18">
            <a:extLst>
              <a:ext uri="{FF2B5EF4-FFF2-40B4-BE49-F238E27FC236}">
                <a16:creationId xmlns:a16="http://schemas.microsoft.com/office/drawing/2014/main" id="{908584C9-8053-BAF4-2837-F31222763A77}"/>
              </a:ext>
            </a:extLst>
          </p:cNvPr>
          <p:cNvSpPr txBox="1"/>
          <p:nvPr/>
        </p:nvSpPr>
        <p:spPr>
          <a:xfrm>
            <a:off x="2040328" y="1706289"/>
            <a:ext cx="1840353"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PageGroup</a:t>
            </a:r>
          </a:p>
        </p:txBody>
      </p:sp>
      <p:sp>
        <p:nvSpPr>
          <p:cNvPr id="20" name="TextBox 19">
            <a:extLst>
              <a:ext uri="{FF2B5EF4-FFF2-40B4-BE49-F238E27FC236}">
                <a16:creationId xmlns:a16="http://schemas.microsoft.com/office/drawing/2014/main" id="{8BC02F85-542C-62AC-AE9B-960CD2FC3FDC}"/>
              </a:ext>
            </a:extLst>
          </p:cNvPr>
          <p:cNvSpPr txBox="1"/>
          <p:nvPr/>
        </p:nvSpPr>
        <p:spPr>
          <a:xfrm>
            <a:off x="167800" y="1699160"/>
            <a:ext cx="1630828" cy="523220"/>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Microsoft Azure OpenAI Service</a:t>
            </a:r>
            <a:endParaRPr lang="en-US" sz="1400" b="1" kern="0">
              <a:solidFill>
                <a:srgbClr val="000000"/>
              </a:solidFill>
              <a:cs typeface="Arial"/>
              <a:sym typeface="Arial"/>
            </a:endParaRPr>
          </a:p>
        </p:txBody>
      </p:sp>
      <p:sp>
        <p:nvSpPr>
          <p:cNvPr id="8" name="Rectangle 7">
            <a:extLst>
              <a:ext uri="{FF2B5EF4-FFF2-40B4-BE49-F238E27FC236}">
                <a16:creationId xmlns:a16="http://schemas.microsoft.com/office/drawing/2014/main" id="{A68D5E23-72DC-7317-3E70-7D71B7BA80BC}"/>
              </a:ext>
            </a:extLst>
          </p:cNvPr>
          <p:cNvSpPr/>
          <p:nvPr/>
        </p:nvSpPr>
        <p:spPr>
          <a:xfrm>
            <a:off x="334496" y="5776431"/>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Productivity, Quality, Agility, Cycle Time</a:t>
            </a:r>
            <a:endParaRPr lang="en-IN" sz="1400">
              <a:solidFill>
                <a:schemeClr val="tx1"/>
              </a:solidFill>
            </a:endParaRPr>
          </a:p>
        </p:txBody>
      </p:sp>
    </p:spTree>
    <p:extLst>
      <p:ext uri="{BB962C8B-B14F-4D97-AF65-F5344CB8AC3E}">
        <p14:creationId xmlns:p14="http://schemas.microsoft.com/office/powerpoint/2010/main" val="9502288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257E0-F739-DD58-C0B7-649C78D50C4E}"/>
              </a:ext>
            </a:extLst>
          </p:cNvPr>
          <p:cNvSpPr>
            <a:spLocks noGrp="1"/>
          </p:cNvSpPr>
          <p:nvPr>
            <p:ph type="title"/>
          </p:nvPr>
        </p:nvSpPr>
        <p:spPr/>
        <p:txBody>
          <a:bodyPr/>
          <a:lstStyle/>
          <a:p>
            <a:r>
              <a:rPr lang="en-US"/>
              <a:t>Sales Content Creation</a:t>
            </a:r>
          </a:p>
        </p:txBody>
      </p:sp>
      <p:sp>
        <p:nvSpPr>
          <p:cNvPr id="4" name="TextBox 3">
            <a:extLst>
              <a:ext uri="{FF2B5EF4-FFF2-40B4-BE49-F238E27FC236}">
                <a16:creationId xmlns:a16="http://schemas.microsoft.com/office/drawing/2014/main" id="{FA483123-9DA1-1C62-6FAA-50AE25A46B16}"/>
              </a:ext>
            </a:extLst>
          </p:cNvPr>
          <p:cNvSpPr txBox="1"/>
          <p:nvPr/>
        </p:nvSpPr>
        <p:spPr>
          <a:xfrm>
            <a:off x="591127" y="443345"/>
            <a:ext cx="2718693" cy="369332"/>
          </a:xfrm>
          <a:prstGeom prst="rect">
            <a:avLst/>
          </a:prstGeom>
          <a:noFill/>
        </p:spPr>
        <p:txBody>
          <a:bodyPr wrap="none" lIns="0" rIns="0" rtlCol="0">
            <a:spAutoFit/>
          </a:bodyPr>
          <a:lstStyle/>
          <a:p>
            <a:pPr algn="l">
              <a:spcBef>
                <a:spcPts val="600"/>
              </a:spcBef>
            </a:pPr>
            <a:r>
              <a:rPr lang="en-US">
                <a:hlinkClick r:id="rId2" action="ppaction://hlinksldjump"/>
              </a:rPr>
              <a:t>Go Back to Category Slide</a:t>
            </a:r>
            <a:endParaRPr lang="en-US"/>
          </a:p>
        </p:txBody>
      </p:sp>
    </p:spTree>
    <p:extLst>
      <p:ext uri="{BB962C8B-B14F-4D97-AF65-F5344CB8AC3E}">
        <p14:creationId xmlns:p14="http://schemas.microsoft.com/office/powerpoint/2010/main" val="13327322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James Allen offers ChatGPT assistant subscriptions to shopper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James Allen, an online jewelry retailer, has introduced a ChatGPT plug-in to simplify the process of shopping for engagement rings. The tool provides personalized suggestions and advanced search aids for highlighting relevant products. This helps users navigate its collection of over 200,000 diamond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James Allen, an online jewelry retailer, adopts a ChatGPT plug-in.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Plug-in helps users navigate James Allen's 200,000+ diamond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Introduced in July, it's on ChatGPT's site, offers personalized diamond suggestions.</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ChatGPT's advanced search emphasizes relevant items. </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Users must actively search for and install the plug-in.</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523220"/>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It personalizes the shopping experience, considers shoppers budget, and stays updated on trends, revolutionizing how users shop.</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Retail</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0" y="1626374"/>
            <a:ext cx="1628525" cy="738664"/>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OpenAI ChatGPT Plug-in</a:t>
            </a:r>
            <a:endParaRPr lang="en-US" sz="1400" b="1" kern="0">
              <a:solidFill>
                <a:srgbClr val="000000"/>
              </a:solidFill>
              <a:cs typeface="Arial"/>
              <a:sym typeface="Arial"/>
            </a:endParaRPr>
          </a:p>
          <a:p>
            <a:pPr algn="ctr" defTabSz="914400">
              <a:buClr>
                <a:srgbClr val="000000"/>
              </a:buClr>
              <a:buFont typeface="Arial"/>
              <a:buNone/>
            </a:pPr>
            <a:endParaRPr lang="en-US" sz="1400" b="1" kern="0">
              <a:solidFill>
                <a:srgbClr val="000000"/>
              </a:solidFill>
              <a:cs typeface="Arial"/>
              <a:sym typeface="Arial"/>
            </a:endParaRPr>
          </a:p>
        </p:txBody>
      </p:sp>
      <p:sp>
        <p:nvSpPr>
          <p:cNvPr id="760" name="TextBox 759">
            <a:extLst>
              <a:ext uri="{FF2B5EF4-FFF2-40B4-BE49-F238E27FC236}">
                <a16:creationId xmlns:a16="http://schemas.microsoft.com/office/drawing/2014/main" id="{16F0A96B-3D1E-E8DF-AC52-46F2C43A756E}"/>
              </a:ext>
            </a:extLst>
          </p:cNvPr>
          <p:cNvSpPr txBox="1"/>
          <p:nvPr/>
        </p:nvSpPr>
        <p:spPr>
          <a:xfrm>
            <a:off x="2229933" y="1624219"/>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James Allen</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Customer Experience</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12" name="TextBox 11">
            <a:extLst>
              <a:ext uri="{FF2B5EF4-FFF2-40B4-BE49-F238E27FC236}">
                <a16:creationId xmlns:a16="http://schemas.microsoft.com/office/drawing/2014/main" id="{42870748-31AF-1366-AB4F-D9F893DDC8FC}"/>
              </a:ext>
            </a:extLst>
          </p:cNvPr>
          <p:cNvSpPr txBox="1"/>
          <p:nvPr/>
        </p:nvSpPr>
        <p:spPr>
          <a:xfrm>
            <a:off x="3869618" y="6060349"/>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www.pymnts.com/news/artificial-intelligence/2023/james-allen-offers-chatgpt-assistant-subscrptions-shoppers/</a:t>
            </a:r>
            <a:endParaRPr lang="en-US" sz="1000"/>
          </a:p>
          <a:p>
            <a:pPr defTabSz="914400">
              <a:lnSpc>
                <a:spcPct val="90000"/>
              </a:lnSpc>
              <a:defRPr/>
            </a:pPr>
            <a:r>
              <a:rPr lang="en-US" sz="1000" b="1"/>
              <a:t>Publish Date: 8/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F2A79D2A-5DFC-B578-A932-19835DA57FD1}"/>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4" name="TextBox 13">
            <a:extLst>
              <a:ext uri="{FF2B5EF4-FFF2-40B4-BE49-F238E27FC236}">
                <a16:creationId xmlns:a16="http://schemas.microsoft.com/office/drawing/2014/main" id="{98BB39CC-63E6-0B13-6191-4BCBA61F4639}"/>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0AB78E4F-E44B-66D0-905D-11261C944BD2}"/>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Sales Content Creation	</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68742AB1-7D66-DE68-8A7D-E32D5E67F0AC}"/>
              </a:ext>
            </a:extLst>
          </p:cNvPr>
          <p:cNvSpPr txBox="1"/>
          <p:nvPr/>
        </p:nvSpPr>
        <p:spPr>
          <a:xfrm>
            <a:off x="8569828" y="5964515"/>
            <a:ext cx="1665521" cy="661720"/>
          </a:xfrm>
          <a:prstGeom prst="rect">
            <a:avLst/>
          </a:prstGeom>
          <a:noFill/>
        </p:spPr>
        <p:txBody>
          <a:bodyPr wrap="none" lIns="0" rIns="0" rtlCol="0">
            <a:spAutoFit/>
          </a:bodyPr>
          <a:lstStyle/>
          <a:p>
            <a:pPr algn="l">
              <a:spcBef>
                <a:spcPts val="600"/>
              </a:spcBef>
            </a:pPr>
            <a:r>
              <a:rPr lang="en-US" sz="1600"/>
              <a:t>Case Study ID: 42</a:t>
            </a:r>
          </a:p>
          <a:p>
            <a:pPr algn="l">
              <a:spcBef>
                <a:spcPts val="600"/>
              </a:spcBef>
            </a:pPr>
            <a:endParaRPr lang="en-US" sz="1600"/>
          </a:p>
        </p:txBody>
      </p:sp>
    </p:spTree>
    <p:extLst>
      <p:ext uri="{BB962C8B-B14F-4D97-AF65-F5344CB8AC3E}">
        <p14:creationId xmlns:p14="http://schemas.microsoft.com/office/powerpoint/2010/main" val="36085636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Instacart uses ChatGPT plug-in to deliver personalized ingredient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Instacart, grocery delivery and pick-up service launched an Instacart plug-in for ChatGPT in collaboration with OpenAI. The Instacart ChatGPT plug-in will act as an add-on to ChatGPT and will combine ChatGPT’s capabilities with Instacart’s own AI technology to let users shop from food and recipe-related conversations with ChatGPT and get ingredients delivered to their door.</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By leveraging Instacart’s rich catalog spanning more than 1.5 million products from over 1,100 retail banners, users can now lean on ChatGPT to take on their meal planning. ChatGPT plug-in is a custom, constrained tool that will be triggered only in response to relevant food-related ChatGPT questions, and people won’t be able to use it for non-recipe-related tasks.</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Instacart ChatGPT plug-in aids users in creating meals or recipes, assisting them in determining ingredients, creating an instant shopping list, and receiving ingredients delivered to their doorstep. Future features will include the ability to shop on sale or in season for recipes or ingredients.</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cs typeface="Arial"/>
                <a:sym typeface="Arial"/>
              </a:rPr>
              <a:t>Retail</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0" y="1662950"/>
            <a:ext cx="1854102" cy="738664"/>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OpenAI ChatGPT Plug-in</a:t>
            </a:r>
            <a:endParaRPr lang="en-US" sz="1400" b="1" kern="0">
              <a:solidFill>
                <a:srgbClr val="000000"/>
              </a:solidFill>
              <a:cs typeface="Arial"/>
              <a:sym typeface="Arial"/>
            </a:endParaRPr>
          </a:p>
          <a:p>
            <a:pPr algn="ctr" defTabSz="914400">
              <a:buClr>
                <a:srgbClr val="000000"/>
              </a:buClr>
              <a:buFont typeface="Arial"/>
              <a:buNone/>
            </a:pPr>
            <a:endParaRPr lang="en-US" sz="1400" b="1" kern="0">
              <a:solidFill>
                <a:srgbClr val="000000"/>
              </a:solidFill>
              <a:cs typeface="Arial"/>
              <a:sym typeface="Arial"/>
            </a:endParaRPr>
          </a:p>
        </p:txBody>
      </p:sp>
      <p:sp>
        <p:nvSpPr>
          <p:cNvPr id="760" name="TextBox 759">
            <a:extLst>
              <a:ext uri="{FF2B5EF4-FFF2-40B4-BE49-F238E27FC236}">
                <a16:creationId xmlns:a16="http://schemas.microsoft.com/office/drawing/2014/main" id="{16F0A96B-3D1E-E8DF-AC52-46F2C43A756E}"/>
              </a:ext>
            </a:extLst>
          </p:cNvPr>
          <p:cNvSpPr txBox="1"/>
          <p:nvPr/>
        </p:nvSpPr>
        <p:spPr>
          <a:xfrm>
            <a:off x="2132126" y="1675772"/>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Instacart</a:t>
            </a: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Customer Experience</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CFA5CAAA-025E-9253-FF9A-14BB9816BF84}"/>
              </a:ext>
            </a:extLst>
          </p:cNvPr>
          <p:cNvSpPr txBox="1"/>
          <p:nvPr/>
        </p:nvSpPr>
        <p:spPr>
          <a:xfrm>
            <a:off x="3869618" y="6060349"/>
            <a:ext cx="6554541" cy="646331"/>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www.instacart.com/company/updates/instacart-chatgpt/</a:t>
            </a:r>
            <a:endParaRPr lang="en-US" sz="1000"/>
          </a:p>
          <a:p>
            <a:pPr defTabSz="914400">
              <a:lnSpc>
                <a:spcPct val="90000"/>
              </a:lnSpc>
              <a:defRPr/>
            </a:pPr>
            <a:r>
              <a:rPr lang="en-US" sz="1000" b="1"/>
              <a:t>Publish Date: 3/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C6758334-3450-7960-BF45-2217816381F1}"/>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BF47B72B-A518-0685-528B-B87E4994B297}"/>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4" name="TextBox 13">
            <a:extLst>
              <a:ext uri="{FF2B5EF4-FFF2-40B4-BE49-F238E27FC236}">
                <a16:creationId xmlns:a16="http://schemas.microsoft.com/office/drawing/2014/main" id="{55C5EDA0-C654-4AA3-B534-1259771F69B9}"/>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Sales Content Creation	</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5" name="TextBox 14">
            <a:extLst>
              <a:ext uri="{FF2B5EF4-FFF2-40B4-BE49-F238E27FC236}">
                <a16:creationId xmlns:a16="http://schemas.microsoft.com/office/drawing/2014/main" id="{568164D3-0768-3006-5461-A45C8A9DC193}"/>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49</a:t>
            </a:r>
          </a:p>
        </p:txBody>
      </p:sp>
    </p:spTree>
    <p:extLst>
      <p:ext uri="{BB962C8B-B14F-4D97-AF65-F5344CB8AC3E}">
        <p14:creationId xmlns:p14="http://schemas.microsoft.com/office/powerpoint/2010/main" val="37807690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Klarna teams up with OpenAI to enhance and personalize shopping experience</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A payments and shopping service Klarna's engineering teams have been working together with OpenAI to bring smooth shopping to the ChatGPT. OpenAI would deliver shopping advice or product recommendations, and even links to shop for their preferred products.</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1169551"/>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The Klarna plug-in has to be installed by from the ChatGPT plug-in store, and then users can ask for shopping ideas from ChatGPT. </a:t>
            </a:r>
          </a:p>
          <a:p>
            <a:pPr algn="just" defTabSz="914400">
              <a:buClr>
                <a:srgbClr val="000000"/>
              </a:buClr>
            </a:pPr>
            <a:r>
              <a:rPr lang="en-US" sz="1400" kern="0">
                <a:solidFill>
                  <a:srgbClr val="000000"/>
                </a:solidFill>
                <a:cs typeface="Arial"/>
                <a:sym typeface="Arial"/>
              </a:rPr>
              <a:t>The plug-in will be initially rolled out to ChatGPT Plus subscribers in the United States and Canada alone. However, the rollout will eventually extend to more users and regions around the world.</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738664"/>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Users will receive product recommendation. A user can provide further prompts, if necessary, to receive additional recommendations.</a:t>
            </a:r>
          </a:p>
          <a:p>
            <a:pPr algn="just" defTabSz="914400">
              <a:buClr>
                <a:srgbClr val="000000"/>
              </a:buClr>
            </a:pPr>
            <a:r>
              <a:rPr lang="en-US" sz="1400" kern="0">
                <a:solidFill>
                  <a:srgbClr val="000000"/>
                </a:solidFill>
                <a:cs typeface="Arial"/>
                <a:sym typeface="Arial"/>
              </a:rPr>
              <a:t>Creating value for its 500,000 retail partners and a unique shopping experience for consumers </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8"/>
            <a:ext cx="2349801" cy="523220"/>
          </a:xfrm>
          <a:prstGeom prst="rect">
            <a:avLst/>
          </a:prstGeom>
          <a:noFill/>
        </p:spPr>
        <p:txBody>
          <a:bodyPr wrap="square" rtlCol="0">
            <a:spAutoFit/>
          </a:bodyPr>
          <a:lstStyle/>
          <a:p>
            <a:pPr defTabSz="914400">
              <a:buClr>
                <a:srgbClr val="000000"/>
              </a:buClr>
              <a:defRPr/>
            </a:pPr>
            <a:r>
              <a:rPr kumimoji="0" lang="en-US" sz="1400" b="0" i="0" u="none" strike="noStrike" kern="0" cap="none" spc="0" normalizeH="0" baseline="0" noProof="0">
                <a:ln>
                  <a:noFill/>
                </a:ln>
                <a:solidFill>
                  <a:srgbClr val="000000"/>
                </a:solidFill>
                <a:effectLst/>
                <a:uLnTx/>
                <a:uFillTx/>
                <a:cs typeface="Arial"/>
                <a:sym typeface="Arial"/>
              </a:rPr>
              <a:t>Personalized Shopping Assistance</a:t>
            </a: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0" y="1653806"/>
            <a:ext cx="1758419" cy="738664"/>
          </a:xfrm>
          <a:prstGeom prst="rect">
            <a:avLst/>
          </a:prstGeom>
          <a:noFill/>
        </p:spPr>
        <p:txBody>
          <a:bodyPr wrap="square" rtlCol="0">
            <a:spAutoFit/>
          </a:bodyPr>
          <a:lstStyle/>
          <a:p>
            <a:pPr algn="ctr" defTabSz="914400">
              <a:buClr>
                <a:srgbClr val="000000"/>
              </a:buClr>
            </a:pPr>
            <a:r>
              <a:rPr lang="en-US" sz="1400" b="1" kern="0">
                <a:solidFill>
                  <a:srgbClr val="000000"/>
                </a:solidFill>
                <a:cs typeface="Arial"/>
                <a:sym typeface="Arial Black"/>
              </a:rPr>
              <a:t>OpenAI ChatGPT Plug-in</a:t>
            </a:r>
            <a:endParaRPr lang="en-US" sz="1400" b="1" kern="0">
              <a:solidFill>
                <a:srgbClr val="000000"/>
              </a:solidFill>
              <a:cs typeface="Arial"/>
              <a:sym typeface="Arial"/>
            </a:endParaRPr>
          </a:p>
          <a:p>
            <a:pPr algn="ctr" defTabSz="914400">
              <a:buClr>
                <a:srgbClr val="000000"/>
              </a:buClr>
              <a:buFont typeface="Arial"/>
              <a:buNone/>
            </a:pP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Low</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5"/>
            <a:ext cx="2520000" cy="507831"/>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Customer Experience, Click Rate, Conversion</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Incremental Value: Task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Defend</a:t>
            </a:r>
          </a:p>
        </p:txBody>
      </p:sp>
      <p:sp>
        <p:nvSpPr>
          <p:cNvPr id="3" name="TextBox 2">
            <a:extLst>
              <a:ext uri="{FF2B5EF4-FFF2-40B4-BE49-F238E27FC236}">
                <a16:creationId xmlns:a16="http://schemas.microsoft.com/office/drawing/2014/main" id="{CD270EF6-5096-0B68-C9FE-135F65A9A477}"/>
              </a:ext>
            </a:extLst>
          </p:cNvPr>
          <p:cNvSpPr txBox="1"/>
          <p:nvPr/>
        </p:nvSpPr>
        <p:spPr>
          <a:xfrm>
            <a:off x="3869618" y="6052720"/>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a:t>
            </a:r>
            <a:r>
              <a:rPr lang="en-US" sz="1000"/>
              <a:t>: </a:t>
            </a:r>
            <a:r>
              <a:rPr lang="en-US" sz="1000">
                <a:hlinkClick r:id="rId6"/>
              </a:rPr>
              <a:t>https://www.coinspeaker.com/klarna-adopts-chatgpt/</a:t>
            </a:r>
            <a:r>
              <a:rPr lang="en-US" sz="1000"/>
              <a:t>, </a:t>
            </a:r>
            <a:r>
              <a:rPr lang="en-US" sz="1000">
                <a:hlinkClick r:id="rId7"/>
              </a:rPr>
              <a:t>https://www.klarna.com/international/press/klarna-brings-smoooth-shopping-to-chatgpt/</a:t>
            </a:r>
            <a:endParaRPr lang="en-US" sz="1000"/>
          </a:p>
          <a:p>
            <a:pPr defTabSz="914400">
              <a:lnSpc>
                <a:spcPct val="90000"/>
              </a:lnSpc>
              <a:defRPr/>
            </a:pPr>
            <a:r>
              <a:rPr lang="en-US" sz="1000" b="1"/>
              <a:t>Publish Date: 7/2023</a:t>
            </a:r>
            <a:endParaRPr lang="en-US" sz="1000"/>
          </a:p>
          <a:p>
            <a:pPr defTabSz="914400">
              <a:lnSpc>
                <a:spcPct val="90000"/>
              </a:lnSpc>
              <a:defRPr/>
            </a:pPr>
            <a:endParaRPr lang="en-US" sz="1000"/>
          </a:p>
        </p:txBody>
      </p:sp>
      <p:sp>
        <p:nvSpPr>
          <p:cNvPr id="2" name="TextBox 1">
            <a:extLst>
              <a:ext uri="{FF2B5EF4-FFF2-40B4-BE49-F238E27FC236}">
                <a16:creationId xmlns:a16="http://schemas.microsoft.com/office/drawing/2014/main" id="{D6AB27BC-DE86-15D8-E321-4576763CAC0B}"/>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5757B441-2F98-1B08-7784-ED06BB5784D4}"/>
              </a:ext>
            </a:extLst>
          </p:cNvPr>
          <p:cNvSpPr txBox="1"/>
          <p:nvPr/>
        </p:nvSpPr>
        <p:spPr>
          <a:xfrm>
            <a:off x="2190187" y="1649289"/>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Klarna</a:t>
            </a:r>
          </a:p>
        </p:txBody>
      </p:sp>
      <p:sp>
        <p:nvSpPr>
          <p:cNvPr id="14" name="TextBox 13">
            <a:extLst>
              <a:ext uri="{FF2B5EF4-FFF2-40B4-BE49-F238E27FC236}">
                <a16:creationId xmlns:a16="http://schemas.microsoft.com/office/drawing/2014/main" id="{52FC9FB0-44A0-9AE2-4F21-C86A963F095A}"/>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806F2A24-4F9A-825D-852A-7E3E60F17494}"/>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Sales Content Cre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B6C62337-FC00-EC60-B5DC-EB336CB072C3}"/>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69</a:t>
            </a:r>
          </a:p>
        </p:txBody>
      </p:sp>
    </p:spTree>
    <p:extLst>
      <p:ext uri="{BB962C8B-B14F-4D97-AF65-F5344CB8AC3E}">
        <p14:creationId xmlns:p14="http://schemas.microsoft.com/office/powerpoint/2010/main" val="13261492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Shape 659"/>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3F3EC45-A2DC-49C0-3C22-8A4CB3A07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03F3EC45-A2DC-49C0-3C22-8A4CB3A07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37" name="Rectangle 736">
            <a:extLst>
              <a:ext uri="{FF2B5EF4-FFF2-40B4-BE49-F238E27FC236}">
                <a16:creationId xmlns:a16="http://schemas.microsoft.com/office/drawing/2014/main" id="{D94898B5-17A3-EAED-3A84-7D35064D683A}"/>
              </a:ext>
            </a:extLst>
          </p:cNvPr>
          <p:cNvSpPr/>
          <p:nvPr/>
        </p:nvSpPr>
        <p:spPr>
          <a:xfrm>
            <a:off x="4020412" y="2677199"/>
            <a:ext cx="7956000" cy="1823679"/>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8" name="Rectangle 737">
            <a:extLst>
              <a:ext uri="{FF2B5EF4-FFF2-40B4-BE49-F238E27FC236}">
                <a16:creationId xmlns:a16="http://schemas.microsoft.com/office/drawing/2014/main" id="{7107F56D-8608-8ED5-D8A5-3A23325237FC}"/>
              </a:ext>
            </a:extLst>
          </p:cNvPr>
          <p:cNvSpPr/>
          <p:nvPr/>
        </p:nvSpPr>
        <p:spPr>
          <a:xfrm>
            <a:off x="4020412" y="4592420"/>
            <a:ext cx="7956000" cy="1351283"/>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9" name="Rectangle 738">
            <a:extLst>
              <a:ext uri="{FF2B5EF4-FFF2-40B4-BE49-F238E27FC236}">
                <a16:creationId xmlns:a16="http://schemas.microsoft.com/office/drawing/2014/main" id="{21929055-FF15-EAB2-0109-3D38241C3956}"/>
              </a:ext>
            </a:extLst>
          </p:cNvPr>
          <p:cNvSpPr/>
          <p:nvPr/>
        </p:nvSpPr>
        <p:spPr>
          <a:xfrm>
            <a:off x="4020412" y="1244497"/>
            <a:ext cx="7956000" cy="1341162"/>
          </a:xfrm>
          <a:prstGeom prst="rect">
            <a:avLst/>
          </a:prstGeom>
          <a:solidFill>
            <a:srgbClr val="F4F4F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I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2" name="Google Shape;240;p3">
            <a:extLst>
              <a:ext uri="{FF2B5EF4-FFF2-40B4-BE49-F238E27FC236}">
                <a16:creationId xmlns:a16="http://schemas.microsoft.com/office/drawing/2014/main" id="{C45ED160-274D-7D5D-6A82-81870E69F4BD}"/>
              </a:ext>
            </a:extLst>
          </p:cNvPr>
          <p:cNvSpPr txBox="1"/>
          <p:nvPr/>
        </p:nvSpPr>
        <p:spPr>
          <a:xfrm>
            <a:off x="355600" y="171481"/>
            <a:ext cx="11744960" cy="885825"/>
          </a:xfrm>
          <a:prstGeom prst="rect">
            <a:avLst/>
          </a:prstGeom>
          <a:noFill/>
          <a:ln>
            <a:noFill/>
          </a:ln>
        </p:spPr>
        <p:txBody>
          <a:bodyPr spcFirstLastPara="1" wrap="square" lIns="0" tIns="91425" rIns="91425" bIns="91425" anchor="b" anchorCtr="0">
            <a:noAutofit/>
          </a:bodyPr>
          <a:lstStyle/>
          <a:p>
            <a:pPr defTabSz="914400">
              <a:lnSpc>
                <a:spcPct val="90000"/>
              </a:lnSpc>
              <a:buClr>
                <a:srgbClr val="000000"/>
              </a:buClr>
              <a:buFont typeface="Arial"/>
              <a:buNone/>
            </a:pPr>
            <a:r>
              <a:rPr lang="en-US" sz="3200" b="1" kern="0">
                <a:solidFill>
                  <a:srgbClr val="172A54"/>
                </a:solidFill>
                <a:latin typeface="Arial Black"/>
                <a:ea typeface="Arial Black"/>
                <a:cs typeface="Arial Black"/>
                <a:sym typeface="Arial Black"/>
              </a:rPr>
              <a:t>Spotify launches ‘DJ’ feature for personalized music recommendations</a:t>
            </a:r>
          </a:p>
        </p:txBody>
      </p:sp>
      <p:cxnSp>
        <p:nvCxnSpPr>
          <p:cNvPr id="743" name="Straight Connector 742">
            <a:extLst>
              <a:ext uri="{FF2B5EF4-FFF2-40B4-BE49-F238E27FC236}">
                <a16:creationId xmlns:a16="http://schemas.microsoft.com/office/drawing/2014/main" id="{0EED6426-5CEE-4F61-951B-39AA6B8D502B}"/>
              </a:ext>
            </a:extLst>
          </p:cNvPr>
          <p:cNvCxnSpPr>
            <a:cxnSpLocks/>
          </p:cNvCxnSpPr>
          <p:nvPr/>
        </p:nvCxnSpPr>
        <p:spPr>
          <a:xfrm>
            <a:off x="243840" y="1092140"/>
            <a:ext cx="11633200" cy="0"/>
          </a:xfrm>
          <a:prstGeom prst="line">
            <a:avLst/>
          </a:prstGeom>
          <a:noFill/>
          <a:ln w="9525" cap="flat" cmpd="sng" algn="ctr">
            <a:solidFill>
              <a:srgbClr val="002060"/>
            </a:solidFill>
            <a:prstDash val="solid"/>
          </a:ln>
          <a:effectLst/>
        </p:spPr>
      </p:cxnSp>
      <p:sp>
        <p:nvSpPr>
          <p:cNvPr id="744" name="Rectangle 743">
            <a:extLst>
              <a:ext uri="{FF2B5EF4-FFF2-40B4-BE49-F238E27FC236}">
                <a16:creationId xmlns:a16="http://schemas.microsoft.com/office/drawing/2014/main" id="{5BEAEC4D-0998-48C1-EEB3-5D30488EA638}"/>
              </a:ext>
            </a:extLst>
          </p:cNvPr>
          <p:cNvSpPr/>
          <p:nvPr/>
        </p:nvSpPr>
        <p:spPr>
          <a:xfrm>
            <a:off x="4029478" y="1267815"/>
            <a:ext cx="7956000" cy="343299"/>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Description / Challenge</a:t>
            </a:r>
          </a:p>
        </p:txBody>
      </p:sp>
      <p:sp>
        <p:nvSpPr>
          <p:cNvPr id="745" name="Rectangle 744">
            <a:extLst>
              <a:ext uri="{FF2B5EF4-FFF2-40B4-BE49-F238E27FC236}">
                <a16:creationId xmlns:a16="http://schemas.microsoft.com/office/drawing/2014/main" id="{142935D3-08AE-2771-9E75-D3CFA2557A19}"/>
              </a:ext>
            </a:extLst>
          </p:cNvPr>
          <p:cNvSpPr/>
          <p:nvPr/>
        </p:nvSpPr>
        <p:spPr>
          <a:xfrm>
            <a:off x="4037033" y="2681599"/>
            <a:ext cx="7956000" cy="307777"/>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Methodology</a:t>
            </a:r>
          </a:p>
        </p:txBody>
      </p:sp>
      <p:sp>
        <p:nvSpPr>
          <p:cNvPr id="746" name="Rectangle 745">
            <a:extLst>
              <a:ext uri="{FF2B5EF4-FFF2-40B4-BE49-F238E27FC236}">
                <a16:creationId xmlns:a16="http://schemas.microsoft.com/office/drawing/2014/main" id="{74B781C6-0B48-6911-A0F1-5EB4C7568120}"/>
              </a:ext>
            </a:extLst>
          </p:cNvPr>
          <p:cNvSpPr/>
          <p:nvPr/>
        </p:nvSpPr>
        <p:spPr>
          <a:xfrm>
            <a:off x="4043439" y="4620828"/>
            <a:ext cx="7956000" cy="314945"/>
          </a:xfrm>
          <a:prstGeom prst="rect">
            <a:avLst/>
          </a:prstGeom>
          <a:solidFill>
            <a:srgbClr val="00285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sym typeface="Arial"/>
              </a:rPr>
              <a:t>Results</a:t>
            </a:r>
          </a:p>
        </p:txBody>
      </p:sp>
      <p:sp>
        <p:nvSpPr>
          <p:cNvPr id="747" name="TextBox 746">
            <a:extLst>
              <a:ext uri="{FF2B5EF4-FFF2-40B4-BE49-F238E27FC236}">
                <a16:creationId xmlns:a16="http://schemas.microsoft.com/office/drawing/2014/main" id="{42314759-16C9-2A2E-4382-7C21536611C2}"/>
              </a:ext>
            </a:extLst>
          </p:cNvPr>
          <p:cNvSpPr txBox="1"/>
          <p:nvPr/>
        </p:nvSpPr>
        <p:spPr>
          <a:xfrm>
            <a:off x="4021436" y="1602802"/>
            <a:ext cx="7954975"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Spotify has introduced an AI feature called "DJ" to enhance the music listening experience for users. The feature allows Spotify to understand users so well that the DJ can choose what to play for them. This could make Spotify a more passive experience, allowing users to enjoy their music without having to dictate what to stream or navigate the interface.</a:t>
            </a:r>
          </a:p>
        </p:txBody>
      </p:sp>
      <p:sp>
        <p:nvSpPr>
          <p:cNvPr id="748" name="TextBox 747">
            <a:extLst>
              <a:ext uri="{FF2B5EF4-FFF2-40B4-BE49-F238E27FC236}">
                <a16:creationId xmlns:a16="http://schemas.microsoft.com/office/drawing/2014/main" id="{52A172F7-40D3-395B-CCC6-FDB8624B34C3}"/>
              </a:ext>
            </a:extLst>
          </p:cNvPr>
          <p:cNvSpPr txBox="1"/>
          <p:nvPr/>
        </p:nvSpPr>
        <p:spPr>
          <a:xfrm>
            <a:off x="4037032" y="3052629"/>
            <a:ext cx="7911128" cy="954107"/>
          </a:xfrm>
          <a:prstGeom prst="rect">
            <a:avLst/>
          </a:prstGeom>
          <a:noFill/>
        </p:spPr>
        <p:txBody>
          <a:bodyPr wrap="square" rtlCol="0">
            <a:spAutoFit/>
          </a:bodyPr>
          <a:lstStyle/>
          <a:p>
            <a:pPr algn="just" defTabSz="914400">
              <a:buClr>
                <a:srgbClr val="000000"/>
              </a:buClr>
            </a:pPr>
            <a:r>
              <a:rPr lang="en-US" sz="1400" kern="0">
                <a:solidFill>
                  <a:srgbClr val="000000"/>
                </a:solidFill>
                <a:cs typeface="Arial"/>
                <a:sym typeface="Arial"/>
              </a:rPr>
              <a:t>Spotify utilized its internal music experts' knowledge base and insights to generate the commentary accompanying the music streamed by the DJ. By leveraging OpenAI's Generative AI technology, the disc jockey (DJ) is afterwards capable of expanding their commentary to cater to the application's final customers. </a:t>
            </a:r>
          </a:p>
        </p:txBody>
      </p:sp>
      <p:sp>
        <p:nvSpPr>
          <p:cNvPr id="749" name="TextBox 748">
            <a:extLst>
              <a:ext uri="{FF2B5EF4-FFF2-40B4-BE49-F238E27FC236}">
                <a16:creationId xmlns:a16="http://schemas.microsoft.com/office/drawing/2014/main" id="{A50E6FED-D952-EBCF-AAC5-BD6B2EFDC8C8}"/>
              </a:ext>
            </a:extLst>
          </p:cNvPr>
          <p:cNvSpPr txBox="1"/>
          <p:nvPr/>
        </p:nvSpPr>
        <p:spPr>
          <a:xfrm>
            <a:off x="4028824" y="4953563"/>
            <a:ext cx="7954975" cy="523220"/>
          </a:xfrm>
          <a:prstGeom prst="rect">
            <a:avLst/>
          </a:prstGeom>
          <a:noFill/>
        </p:spPr>
        <p:txBody>
          <a:bodyPr wrap="square" rtlCol="0">
            <a:spAutoFit/>
          </a:bodyPr>
          <a:lstStyle/>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As a result of the AI “DJ” users spent 25% of their time listening with the DJ</a:t>
            </a:r>
          </a:p>
          <a:p>
            <a:pPr marL="285750" indent="-285750" algn="just" defTabSz="914400">
              <a:buClr>
                <a:srgbClr val="000000"/>
              </a:buClr>
              <a:buFont typeface="Arial" panose="020B0604020202020204" pitchFamily="34" charset="0"/>
              <a:buChar char="•"/>
            </a:pPr>
            <a:r>
              <a:rPr lang="en-US" sz="1400" kern="0">
                <a:solidFill>
                  <a:srgbClr val="000000"/>
                </a:solidFill>
                <a:cs typeface="Arial"/>
                <a:sym typeface="Arial"/>
              </a:rPr>
              <a:t>More than half of the first-time listeners return to use the feature the very next day of launch</a:t>
            </a:r>
          </a:p>
        </p:txBody>
      </p:sp>
      <p:sp>
        <p:nvSpPr>
          <p:cNvPr id="751" name="TextBox 750">
            <a:extLst>
              <a:ext uri="{FF2B5EF4-FFF2-40B4-BE49-F238E27FC236}">
                <a16:creationId xmlns:a16="http://schemas.microsoft.com/office/drawing/2014/main" id="{3D178A78-CD9B-9B57-381E-6C79E4F668FB}"/>
              </a:ext>
            </a:extLst>
          </p:cNvPr>
          <p:cNvSpPr txBox="1"/>
          <p:nvPr/>
        </p:nvSpPr>
        <p:spPr>
          <a:xfrm>
            <a:off x="167800" y="1242157"/>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GenAI Vendor</a:t>
            </a:r>
          </a:p>
        </p:txBody>
      </p:sp>
      <p:sp>
        <p:nvSpPr>
          <p:cNvPr id="754" name="TextBox 753">
            <a:extLst>
              <a:ext uri="{FF2B5EF4-FFF2-40B4-BE49-F238E27FC236}">
                <a16:creationId xmlns:a16="http://schemas.microsoft.com/office/drawing/2014/main" id="{5F91EB7D-D314-30D6-847D-06BE77DBEA3B}"/>
              </a:ext>
            </a:extLst>
          </p:cNvPr>
          <p:cNvSpPr txBox="1"/>
          <p:nvPr/>
        </p:nvSpPr>
        <p:spPr>
          <a:xfrm>
            <a:off x="243840" y="2499592"/>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Industry</a:t>
            </a:r>
          </a:p>
        </p:txBody>
      </p:sp>
      <p:sp>
        <p:nvSpPr>
          <p:cNvPr id="755" name="TextBox 754">
            <a:extLst>
              <a:ext uri="{FF2B5EF4-FFF2-40B4-BE49-F238E27FC236}">
                <a16:creationId xmlns:a16="http://schemas.microsoft.com/office/drawing/2014/main" id="{2C81BA28-BF01-1AFB-6F1B-C3A82383E1EE}"/>
              </a:ext>
            </a:extLst>
          </p:cNvPr>
          <p:cNvSpPr txBox="1"/>
          <p:nvPr/>
        </p:nvSpPr>
        <p:spPr>
          <a:xfrm>
            <a:off x="243839" y="2774997"/>
            <a:ext cx="303703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Entertainment</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758" name="TextBox 757">
            <a:extLst>
              <a:ext uri="{FF2B5EF4-FFF2-40B4-BE49-F238E27FC236}">
                <a16:creationId xmlns:a16="http://schemas.microsoft.com/office/drawing/2014/main" id="{41A9C5F2-6D54-DA80-67DC-8A80B60F680B}"/>
              </a:ext>
            </a:extLst>
          </p:cNvPr>
          <p:cNvSpPr txBox="1"/>
          <p:nvPr/>
        </p:nvSpPr>
        <p:spPr>
          <a:xfrm>
            <a:off x="262479" y="3110436"/>
            <a:ext cx="17665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Business Value</a:t>
            </a:r>
          </a:p>
        </p:txBody>
      </p:sp>
      <p:sp>
        <p:nvSpPr>
          <p:cNvPr id="759" name="TextBox 758">
            <a:extLst>
              <a:ext uri="{FF2B5EF4-FFF2-40B4-BE49-F238E27FC236}">
                <a16:creationId xmlns:a16="http://schemas.microsoft.com/office/drawing/2014/main" id="{3BADE806-97C4-C52D-6972-2F312E7D9938}"/>
              </a:ext>
            </a:extLst>
          </p:cNvPr>
          <p:cNvSpPr txBox="1"/>
          <p:nvPr/>
        </p:nvSpPr>
        <p:spPr>
          <a:xfrm>
            <a:off x="235217" y="1782550"/>
            <a:ext cx="1159984"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Black"/>
              </a:rPr>
              <a:t>OpenAI</a:t>
            </a:r>
            <a:endParaRPr lang="en-US" sz="1400" b="1" kern="0">
              <a:solidFill>
                <a:srgbClr val="000000"/>
              </a:solidFill>
              <a:cs typeface="Arial"/>
              <a:sym typeface="Arial"/>
            </a:endParaRPr>
          </a:p>
        </p:txBody>
      </p:sp>
      <p:sp>
        <p:nvSpPr>
          <p:cNvPr id="4" name="TextBox 3">
            <a:extLst>
              <a:ext uri="{FF2B5EF4-FFF2-40B4-BE49-F238E27FC236}">
                <a16:creationId xmlns:a16="http://schemas.microsoft.com/office/drawing/2014/main" id="{3F7AAC27-6AED-E136-A774-BC95120AD7C7}"/>
              </a:ext>
            </a:extLst>
          </p:cNvPr>
          <p:cNvSpPr txBox="1"/>
          <p:nvPr/>
        </p:nvSpPr>
        <p:spPr>
          <a:xfrm>
            <a:off x="262479" y="472526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isk/ Complexity</a:t>
            </a:r>
          </a:p>
        </p:txBody>
      </p:sp>
      <p:sp>
        <p:nvSpPr>
          <p:cNvPr id="7" name="TextBox 6">
            <a:extLst>
              <a:ext uri="{FF2B5EF4-FFF2-40B4-BE49-F238E27FC236}">
                <a16:creationId xmlns:a16="http://schemas.microsoft.com/office/drawing/2014/main" id="{8EC9B30E-3239-1EDB-35BD-AED9D698B2F5}"/>
              </a:ext>
            </a:extLst>
          </p:cNvPr>
          <p:cNvSpPr txBox="1"/>
          <p:nvPr/>
        </p:nvSpPr>
        <p:spPr>
          <a:xfrm>
            <a:off x="252153" y="5450443"/>
            <a:ext cx="2120353"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Result Taxonomy</a:t>
            </a:r>
          </a:p>
        </p:txBody>
      </p:sp>
      <p:sp>
        <p:nvSpPr>
          <p:cNvPr id="11" name="Rectangle 10">
            <a:extLst>
              <a:ext uri="{FF2B5EF4-FFF2-40B4-BE49-F238E27FC236}">
                <a16:creationId xmlns:a16="http://schemas.microsoft.com/office/drawing/2014/main" id="{707C5A75-ED52-D606-7AC4-959202D8012F}"/>
              </a:ext>
            </a:extLst>
          </p:cNvPr>
          <p:cNvSpPr/>
          <p:nvPr/>
        </p:nvSpPr>
        <p:spPr>
          <a:xfrm>
            <a:off x="332838" y="5039418"/>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Medium</a:t>
            </a:r>
          </a:p>
        </p:txBody>
      </p:sp>
      <p:sp>
        <p:nvSpPr>
          <p:cNvPr id="13" name="Rectangle 12">
            <a:extLst>
              <a:ext uri="{FF2B5EF4-FFF2-40B4-BE49-F238E27FC236}">
                <a16:creationId xmlns:a16="http://schemas.microsoft.com/office/drawing/2014/main" id="{A55D2298-5195-C0E4-B136-A0B1A68F1344}"/>
              </a:ext>
            </a:extLst>
          </p:cNvPr>
          <p:cNvSpPr/>
          <p:nvPr/>
        </p:nvSpPr>
        <p:spPr>
          <a:xfrm>
            <a:off x="332838" y="5765016"/>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Customer Engagement</a:t>
            </a:r>
            <a:endParaRPr lang="en-IN" sz="1400">
              <a:solidFill>
                <a:schemeClr val="tx1"/>
              </a:solidFill>
            </a:endParaRPr>
          </a:p>
        </p:txBody>
      </p:sp>
      <p:sp>
        <p:nvSpPr>
          <p:cNvPr id="5" name="Rectangle 4">
            <a:extLst>
              <a:ext uri="{FF2B5EF4-FFF2-40B4-BE49-F238E27FC236}">
                <a16:creationId xmlns:a16="http://schemas.microsoft.com/office/drawing/2014/main" id="{A8C94439-AB1F-C277-A8E0-41468A768E62}"/>
              </a:ext>
            </a:extLst>
          </p:cNvPr>
          <p:cNvSpPr/>
          <p:nvPr/>
        </p:nvSpPr>
        <p:spPr>
          <a:xfrm>
            <a:off x="343640" y="3434730"/>
            <a:ext cx="2790000" cy="45928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Medium Value: Process Specific</a:t>
            </a:r>
          </a:p>
        </p:txBody>
      </p:sp>
      <p:sp>
        <p:nvSpPr>
          <p:cNvPr id="6" name="TextBox 5">
            <a:extLst>
              <a:ext uri="{FF2B5EF4-FFF2-40B4-BE49-F238E27FC236}">
                <a16:creationId xmlns:a16="http://schemas.microsoft.com/office/drawing/2014/main" id="{582CDE9F-4074-6013-DA5F-52D45583DC85}"/>
              </a:ext>
            </a:extLst>
          </p:cNvPr>
          <p:cNvSpPr txBox="1"/>
          <p:nvPr/>
        </p:nvSpPr>
        <p:spPr>
          <a:xfrm>
            <a:off x="252153" y="3977592"/>
            <a:ext cx="2349800" cy="30777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Strategic Alignment</a:t>
            </a:r>
          </a:p>
        </p:txBody>
      </p:sp>
      <p:sp>
        <p:nvSpPr>
          <p:cNvPr id="9" name="Rectangle 8">
            <a:extLst>
              <a:ext uri="{FF2B5EF4-FFF2-40B4-BE49-F238E27FC236}">
                <a16:creationId xmlns:a16="http://schemas.microsoft.com/office/drawing/2014/main" id="{655A6175-6E74-01BE-C97E-280A846753DD}"/>
              </a:ext>
            </a:extLst>
          </p:cNvPr>
          <p:cNvSpPr/>
          <p:nvPr/>
        </p:nvSpPr>
        <p:spPr>
          <a:xfrm>
            <a:off x="344476" y="4285455"/>
            <a:ext cx="2520000" cy="36000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a:solidFill>
                  <a:schemeClr val="tx1"/>
                </a:solidFill>
              </a:rPr>
              <a:t>Extend	</a:t>
            </a:r>
          </a:p>
        </p:txBody>
      </p:sp>
      <p:sp>
        <p:nvSpPr>
          <p:cNvPr id="3" name="TextBox 2">
            <a:extLst>
              <a:ext uri="{FF2B5EF4-FFF2-40B4-BE49-F238E27FC236}">
                <a16:creationId xmlns:a16="http://schemas.microsoft.com/office/drawing/2014/main" id="{9D94A493-31EC-0A52-5B07-EF52D0A5124F}"/>
              </a:ext>
            </a:extLst>
          </p:cNvPr>
          <p:cNvSpPr txBox="1"/>
          <p:nvPr/>
        </p:nvSpPr>
        <p:spPr>
          <a:xfrm>
            <a:off x="3869618" y="6052720"/>
            <a:ext cx="6554541" cy="784830"/>
          </a:xfrm>
          <a:prstGeom prst="rect">
            <a:avLst/>
          </a:prstGeom>
          <a:noFill/>
        </p:spPr>
        <p:txBody>
          <a:bodyPr wrap="square" lIns="0" rIns="0" rtlCol="0">
            <a:spAutoFit/>
          </a:bodyPr>
          <a:lstStyle/>
          <a:p>
            <a:pPr defTabSz="914400">
              <a:lnSpc>
                <a:spcPct val="90000"/>
              </a:lnSpc>
              <a:defRPr/>
            </a:pPr>
            <a:r>
              <a:rPr lang="en-US" sz="1000" b="1"/>
              <a:t>Vendor Source: </a:t>
            </a:r>
            <a:r>
              <a:rPr lang="en-US" sz="1000"/>
              <a:t>NA</a:t>
            </a:r>
          </a:p>
          <a:p>
            <a:pPr defTabSz="914400">
              <a:lnSpc>
                <a:spcPct val="90000"/>
              </a:lnSpc>
              <a:defRPr/>
            </a:pPr>
            <a:r>
              <a:rPr lang="en-US" sz="1000" b="1"/>
              <a:t>Client/Other Source: </a:t>
            </a:r>
            <a:r>
              <a:rPr lang="en-US" sz="1000">
                <a:hlinkClick r:id="rId6"/>
              </a:rPr>
              <a:t>https://techcrunch.com/2023/03/13/spotifys-new-dj-feature-is-the-first-step-into-the-streamers-ai-powered-future/</a:t>
            </a:r>
            <a:endParaRPr lang="en-US" sz="1000"/>
          </a:p>
          <a:p>
            <a:pPr defTabSz="914400">
              <a:lnSpc>
                <a:spcPct val="90000"/>
              </a:lnSpc>
              <a:defRPr/>
            </a:pPr>
            <a:r>
              <a:rPr lang="en-US" sz="1000" b="1"/>
              <a:t>Publish Date: 3/2023</a:t>
            </a:r>
          </a:p>
          <a:p>
            <a:pPr defTabSz="914400">
              <a:lnSpc>
                <a:spcPct val="90000"/>
              </a:lnSpc>
              <a:defRPr/>
            </a:pPr>
            <a:r>
              <a:rPr lang="en-US" sz="1000"/>
              <a:t> </a:t>
            </a:r>
          </a:p>
        </p:txBody>
      </p:sp>
      <p:sp>
        <p:nvSpPr>
          <p:cNvPr id="2" name="TextBox 1">
            <a:extLst>
              <a:ext uri="{FF2B5EF4-FFF2-40B4-BE49-F238E27FC236}">
                <a16:creationId xmlns:a16="http://schemas.microsoft.com/office/drawing/2014/main" id="{6431EADC-6669-7390-3C73-205330B0483C}"/>
              </a:ext>
            </a:extLst>
          </p:cNvPr>
          <p:cNvSpPr txBox="1"/>
          <p:nvPr/>
        </p:nvSpPr>
        <p:spPr>
          <a:xfrm>
            <a:off x="2132126" y="1237241"/>
            <a:ext cx="1463028" cy="312897"/>
          </a:xfrm>
          <a:prstGeom prst="rect">
            <a:avLst/>
          </a:prstGeom>
          <a:noFill/>
          <a:ln>
            <a:noFill/>
          </a:ln>
        </p:spPr>
        <p:txBody>
          <a:bodyPr wrap="square" rtlCol="0">
            <a:spAutoFit/>
          </a:bodyPr>
          <a:lstStyle/>
          <a:p>
            <a:pPr algn="ctr" defTabSz="914400">
              <a:buClr>
                <a:srgbClr val="000000"/>
              </a:buClr>
              <a:buFont typeface="Arial"/>
              <a:buNone/>
            </a:pPr>
            <a:r>
              <a:rPr lang="en-US" sz="1400" b="1" kern="0">
                <a:solidFill>
                  <a:srgbClr val="FF540A"/>
                </a:solidFill>
                <a:cs typeface="Arial"/>
                <a:sym typeface="Arial"/>
              </a:rPr>
              <a:t>Company</a:t>
            </a:r>
          </a:p>
        </p:txBody>
      </p:sp>
      <p:sp>
        <p:nvSpPr>
          <p:cNvPr id="12" name="TextBox 11">
            <a:extLst>
              <a:ext uri="{FF2B5EF4-FFF2-40B4-BE49-F238E27FC236}">
                <a16:creationId xmlns:a16="http://schemas.microsoft.com/office/drawing/2014/main" id="{96EEA579-B9A1-F100-A793-1F6BEE8904BA}"/>
              </a:ext>
            </a:extLst>
          </p:cNvPr>
          <p:cNvSpPr txBox="1"/>
          <p:nvPr/>
        </p:nvSpPr>
        <p:spPr>
          <a:xfrm>
            <a:off x="2190187" y="1786449"/>
            <a:ext cx="1505115" cy="307777"/>
          </a:xfrm>
          <a:prstGeom prst="rect">
            <a:avLst/>
          </a:prstGeom>
          <a:noFill/>
        </p:spPr>
        <p:txBody>
          <a:bodyPr wrap="square" rtlCol="0">
            <a:spAutoFit/>
          </a:bodyPr>
          <a:lstStyle/>
          <a:p>
            <a:pPr algn="ctr" defTabSz="914400">
              <a:buClr>
                <a:srgbClr val="000000"/>
              </a:buClr>
              <a:buFont typeface="Arial"/>
              <a:buNone/>
            </a:pPr>
            <a:r>
              <a:rPr lang="en-US" sz="1400" b="1" kern="0">
                <a:solidFill>
                  <a:srgbClr val="000000"/>
                </a:solidFill>
                <a:cs typeface="Arial"/>
                <a:sym typeface="Arial"/>
              </a:rPr>
              <a:t>Spotify</a:t>
            </a:r>
          </a:p>
        </p:txBody>
      </p:sp>
      <p:sp>
        <p:nvSpPr>
          <p:cNvPr id="14" name="TextBox 13">
            <a:extLst>
              <a:ext uri="{FF2B5EF4-FFF2-40B4-BE49-F238E27FC236}">
                <a16:creationId xmlns:a16="http://schemas.microsoft.com/office/drawing/2014/main" id="{85DEFC65-5D4D-619B-A99D-0E55FD3C9B8C}"/>
              </a:ext>
            </a:extLst>
          </p:cNvPr>
          <p:cNvSpPr txBox="1"/>
          <p:nvPr/>
        </p:nvSpPr>
        <p:spPr>
          <a:xfrm>
            <a:off x="2277922" y="2507754"/>
            <a:ext cx="1463028" cy="312897"/>
          </a:xfrm>
          <a:prstGeom prst="rect">
            <a:avLst/>
          </a:prstGeom>
          <a:noFill/>
        </p:spPr>
        <p:txBody>
          <a:bodyPr wrap="square" rtlCol="0">
            <a:spAutoFit/>
          </a:bodyPr>
          <a:lstStyle/>
          <a:p>
            <a:pPr defTabSz="914400">
              <a:buClr>
                <a:srgbClr val="000000"/>
              </a:buClr>
              <a:buFont typeface="Arial"/>
              <a:buNone/>
            </a:pPr>
            <a:r>
              <a:rPr lang="en-US" sz="1400" b="1" kern="0">
                <a:solidFill>
                  <a:srgbClr val="FF540A"/>
                </a:solidFill>
                <a:cs typeface="Arial"/>
                <a:sym typeface="Arial"/>
              </a:rPr>
              <a:t>Category</a:t>
            </a:r>
          </a:p>
        </p:txBody>
      </p:sp>
      <p:sp>
        <p:nvSpPr>
          <p:cNvPr id="15" name="TextBox 14">
            <a:extLst>
              <a:ext uri="{FF2B5EF4-FFF2-40B4-BE49-F238E27FC236}">
                <a16:creationId xmlns:a16="http://schemas.microsoft.com/office/drawing/2014/main" id="{C38E562F-B38A-93A4-AD47-C3A50C3E03E8}"/>
              </a:ext>
            </a:extLst>
          </p:cNvPr>
          <p:cNvSpPr txBox="1"/>
          <p:nvPr/>
        </p:nvSpPr>
        <p:spPr>
          <a:xfrm>
            <a:off x="2260291" y="2753118"/>
            <a:ext cx="160932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kern="0">
                <a:solidFill>
                  <a:srgbClr val="000000"/>
                </a:solidFill>
                <a:cs typeface="Arial"/>
                <a:sym typeface="Arial"/>
              </a:rPr>
              <a:t>Sales Content Creation</a:t>
            </a:r>
            <a:endParaRPr kumimoji="0" lang="en-US" sz="1400" b="0" i="0" u="none" strike="noStrike" kern="0" cap="none" spc="0" normalizeH="0" baseline="0" noProof="0">
              <a:ln>
                <a:noFill/>
              </a:ln>
              <a:solidFill>
                <a:srgbClr val="000000"/>
              </a:solidFill>
              <a:effectLst/>
              <a:uLnTx/>
              <a:uFillTx/>
              <a:cs typeface="Arial"/>
              <a:sym typeface="Arial"/>
            </a:endParaRPr>
          </a:p>
        </p:txBody>
      </p:sp>
      <p:sp>
        <p:nvSpPr>
          <p:cNvPr id="16" name="TextBox 15">
            <a:extLst>
              <a:ext uri="{FF2B5EF4-FFF2-40B4-BE49-F238E27FC236}">
                <a16:creationId xmlns:a16="http://schemas.microsoft.com/office/drawing/2014/main" id="{B2D88555-7633-1843-DA74-A36118649366}"/>
              </a:ext>
            </a:extLst>
          </p:cNvPr>
          <p:cNvSpPr txBox="1"/>
          <p:nvPr/>
        </p:nvSpPr>
        <p:spPr>
          <a:xfrm>
            <a:off x="8569828" y="5964515"/>
            <a:ext cx="1665521" cy="338554"/>
          </a:xfrm>
          <a:prstGeom prst="rect">
            <a:avLst/>
          </a:prstGeom>
          <a:noFill/>
        </p:spPr>
        <p:txBody>
          <a:bodyPr wrap="none" lIns="0" rIns="0" rtlCol="0">
            <a:spAutoFit/>
          </a:bodyPr>
          <a:lstStyle/>
          <a:p>
            <a:pPr algn="l">
              <a:spcBef>
                <a:spcPts val="600"/>
              </a:spcBef>
            </a:pPr>
            <a:r>
              <a:rPr lang="en-US" sz="1600"/>
              <a:t>Case Study ID: 71</a:t>
            </a:r>
          </a:p>
        </p:txBody>
      </p:sp>
    </p:spTree>
    <p:extLst>
      <p:ext uri="{BB962C8B-B14F-4D97-AF65-F5344CB8AC3E}">
        <p14:creationId xmlns:p14="http://schemas.microsoft.com/office/powerpoint/2010/main" val="37361161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Gartner_Corporate_PPT_Template_16x9.potx" id="{32B46400-CF51-4A33-BE93-032EBD09209C}" vid="{AB8827A0-F702-4494-B1D3-4B40365FEC60}"/>
    </a:ext>
  </a:extLst>
</a:theme>
</file>

<file path=ppt/theme/theme2.xml><?xml version="1.0" encoding="utf-8"?>
<a:theme xmlns:a="http://schemas.openxmlformats.org/drawingml/2006/main" name="2_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Gartner_Corporate_PPT_Template_16x9.potx" id="{32B46400-CF51-4A33-BE93-032EBD09209C}" vid="{AB8827A0-F702-4494-B1D3-4B40365FEC60}"/>
    </a:ext>
  </a:extLst>
</a:theme>
</file>

<file path=ppt/theme/theme3.xml><?xml version="1.0" encoding="utf-8"?>
<a:theme xmlns:a="http://schemas.openxmlformats.org/drawingml/2006/main" name="1_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Gartner_Corporate_PPT_Template_16x9.potx" id="{32B46400-CF51-4A33-BE93-032EBD09209C}" vid="{AB8827A0-F702-4494-B1D3-4B40365FEC60}"/>
    </a:ext>
  </a:extLst>
</a:theme>
</file>

<file path=ppt/theme/theme4.xml><?xml version="1.0" encoding="utf-8"?>
<a:theme xmlns:a="http://schemas.openxmlformats.org/drawingml/2006/main" name="Blu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Gartner_Corporate_PPT_Template_16x9.potx" id="{32B46400-CF51-4A33-BE93-032EBD09209C}" vid="{8116EE10-0ADA-4268-AAE5-30EC6F5E90BA}"/>
    </a:ext>
  </a:extLst>
</a:theme>
</file>

<file path=ppt/theme/theme5.xml><?xml version="1.0" encoding="utf-8"?>
<a:theme xmlns:a="http://schemas.openxmlformats.org/drawingml/2006/main" name="White bk accent color options">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Gartner_Corporate_PPT_Template_16x9.potx" id="{32B46400-CF51-4A33-BE93-032EBD09209C}" vid="{6E259ABC-D790-4982-AD57-6C9C9097FDBC}"/>
    </a:ext>
  </a:extLst>
</a:theme>
</file>

<file path=ppt/theme/theme6.xml><?xml version="1.0" encoding="utf-8"?>
<a:theme xmlns:a="http://schemas.openxmlformats.org/drawingml/2006/main" name="Blue bk accent color options">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Gartner_Corporate_PPT_Template_16x9.potx" id="{32B46400-CF51-4A33-BE93-032EBD09209C}" vid="{72C72329-1B84-429E-9348-1838CEF553AA}"/>
    </a:ext>
  </a:extLst>
</a:theme>
</file>

<file path=ppt/theme/theme7.xml><?xml version="1.0" encoding="utf-8"?>
<a:theme xmlns:a="http://schemas.openxmlformats.org/drawingml/2006/main" name="Office Theme">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EA7901D5220C942AD6FC03C7FA1979B" ma:contentTypeVersion="6" ma:contentTypeDescription="Create a new document." ma:contentTypeScope="" ma:versionID="e912ca8f2fee9a18206d91f9424ef69b">
  <xsd:schema xmlns:xsd="http://www.w3.org/2001/XMLSchema" xmlns:xs="http://www.w3.org/2001/XMLSchema" xmlns:p="http://schemas.microsoft.com/office/2006/metadata/properties" xmlns:ns2="696e86a5-7912-40ca-b5ed-6b8388c29232" xmlns:ns3="1387b473-3385-4305-a9e0-d9e1913de4b8" targetNamespace="http://schemas.microsoft.com/office/2006/metadata/properties" ma:root="true" ma:fieldsID="5c76b9d076de03c56c3c9ab138dfbc53" ns2:_="" ns3:_="">
    <xsd:import namespace="696e86a5-7912-40ca-b5ed-6b8388c29232"/>
    <xsd:import namespace="1387b473-3385-4305-a9e0-d9e1913de4b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6e86a5-7912-40ca-b5ed-6b8388c292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387b473-3385-4305-a9e0-d9e1913de4b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831C8BD-E0CE-4867-8629-9DDAFD3A69D1}">
  <ds:schemaRefs>
    <ds:schemaRef ds:uri="1387b473-3385-4305-a9e0-d9e1913de4b8"/>
    <ds:schemaRef ds:uri="696e86a5-7912-40ca-b5ed-6b8388c2923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FBDC578-EACA-4CB4-9175-9B6F031FA8A7}">
  <ds:schemaRefs>
    <ds:schemaRef ds:uri="http://schemas.microsoft.com/sharepoint/v3/contenttype/forms"/>
  </ds:schemaRefs>
</ds:datastoreItem>
</file>

<file path=customXml/itemProps3.xml><?xml version="1.0" encoding="utf-8"?>
<ds:datastoreItem xmlns:ds="http://schemas.openxmlformats.org/officeDocument/2006/customXml" ds:itemID="{FE633480-FCF9-4EAD-8ECF-E0D7465019D0}">
  <ds:schemaRefs>
    <ds:schemaRef ds:uri="1387b473-3385-4305-a9e0-d9e1913de4b8"/>
    <ds:schemaRef ds:uri="696e86a5-7912-40ca-b5ed-6b8388c2923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2935</Words>
  <Application>Microsoft Macintosh PowerPoint</Application>
  <PresentationFormat>Widescreen</PresentationFormat>
  <Paragraphs>2924</Paragraphs>
  <Slides>121</Slides>
  <Notes>97</Notes>
  <HiddenSlides>0</HiddenSlides>
  <MMClips>0</MMClips>
  <ScaleCrop>false</ScaleCrop>
  <HeadingPairs>
    <vt:vector size="8" baseType="variant">
      <vt:variant>
        <vt:lpstr>Fonts Used</vt:lpstr>
      </vt:variant>
      <vt:variant>
        <vt:i4>4</vt:i4>
      </vt:variant>
      <vt:variant>
        <vt:lpstr>Theme</vt:lpstr>
      </vt:variant>
      <vt:variant>
        <vt:i4>6</vt:i4>
      </vt:variant>
      <vt:variant>
        <vt:lpstr>Embedded OLE Servers</vt:lpstr>
      </vt:variant>
      <vt:variant>
        <vt:i4>1</vt:i4>
      </vt:variant>
      <vt:variant>
        <vt:lpstr>Slide Titles</vt:lpstr>
      </vt:variant>
      <vt:variant>
        <vt:i4>121</vt:i4>
      </vt:variant>
    </vt:vector>
  </HeadingPairs>
  <TitlesOfParts>
    <vt:vector size="132" baseType="lpstr">
      <vt:lpstr>Arial</vt:lpstr>
      <vt:lpstr>Arial Black</vt:lpstr>
      <vt:lpstr>Calibri</vt:lpstr>
      <vt:lpstr>helvetica-w01-light</vt:lpstr>
      <vt:lpstr>White bkgrnd master</vt:lpstr>
      <vt:lpstr>2_White bkgrnd master</vt:lpstr>
      <vt:lpstr>1_White bkgrnd master</vt:lpstr>
      <vt:lpstr>Blue bkgrnd master</vt:lpstr>
      <vt:lpstr>White bk accent color options</vt:lpstr>
      <vt:lpstr>Blue bk accent color options</vt:lpstr>
      <vt:lpstr>think-cell Slide</vt:lpstr>
      <vt:lpstr>Generative AI Case Study Snapshots</vt:lpstr>
      <vt:lpstr>How to Use This Deck</vt:lpstr>
      <vt:lpstr>Select the Links to Navigate to Case Studies in Each Category</vt:lpstr>
      <vt:lpstr>Coding Assistants</vt:lpstr>
      <vt:lpstr>PowerPoint Presentation</vt:lpstr>
      <vt:lpstr>PowerPoint Presentation</vt:lpstr>
      <vt:lpstr>PowerPoint Presentation</vt:lpstr>
      <vt:lpstr>PowerPoint Presentation</vt:lpstr>
      <vt:lpstr>PowerPoint Presentation</vt:lpstr>
      <vt:lpstr>Marketing Content Gener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duct 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ynthetic Data</vt:lpstr>
      <vt:lpstr>PowerPoint Presentation</vt:lpstr>
      <vt:lpstr>Video Content Gener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oice Content Generation</vt:lpstr>
      <vt:lpstr>PowerPoint Presentation</vt:lpstr>
      <vt:lpstr>Drug Discovery</vt:lpstr>
      <vt:lpstr>PowerPoint Presentation</vt:lpstr>
      <vt:lpstr>PowerPoint Presentation</vt:lpstr>
      <vt:lpstr>Financial Assistants</vt:lpstr>
      <vt:lpstr>PowerPoint Presentation</vt:lpstr>
      <vt:lpstr>PowerPoint Presentation</vt:lpstr>
      <vt:lpstr>PowerPoint Presentation</vt:lpstr>
      <vt:lpstr>Manufacturing Optimization</vt:lpstr>
      <vt:lpstr>PowerPoint Presentation</vt:lpstr>
      <vt:lpstr>PowerPoint Presentation</vt:lpstr>
      <vt:lpstr>PowerPoint Presentation</vt:lpstr>
      <vt:lpstr>Analytics and BI</vt:lpstr>
      <vt:lpstr>PowerPoint Presentation</vt:lpstr>
      <vt:lpstr>PowerPoint Presentation</vt:lpstr>
      <vt:lpstr>PowerPoint Presentation</vt:lpstr>
      <vt:lpstr>PowerPoint Presentation</vt:lpstr>
      <vt:lpstr>Medical Assista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ducation Assistants</vt:lpstr>
      <vt:lpstr>PowerPoint Presentation</vt:lpstr>
      <vt:lpstr>PowerPoint Presentation</vt:lpstr>
      <vt:lpstr>Citizen Assistants</vt:lpstr>
      <vt:lpstr>PowerPoint Presentation</vt:lpstr>
      <vt:lpstr>Conversational Interface</vt:lpstr>
      <vt:lpstr>PowerPoint Presentation</vt:lpstr>
      <vt:lpstr>Business Productiv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ales Content Cre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ustomer Support</vt:lpstr>
      <vt:lpstr>PowerPoint Presentation</vt:lpstr>
      <vt:lpstr>PowerPoint Presentation</vt:lpstr>
      <vt:lpstr>PowerPoint Presentation</vt:lpstr>
      <vt:lpstr>PowerPoint Presentation</vt:lpstr>
      <vt:lpstr>PowerPoint Presentation</vt:lpstr>
      <vt:lpstr>Document Search and Summary</vt:lpstr>
      <vt:lpstr>PowerPoint Presentation</vt:lpstr>
      <vt:lpstr>PowerPoint Presentation</vt:lpstr>
      <vt:lpstr>PowerPoint Presentation</vt:lpstr>
      <vt:lpstr>PowerPoint Presentation</vt:lpstr>
      <vt:lpstr>Fast Cycle Innovation</vt:lpstr>
      <vt:lpstr>PowerPoint Presentation</vt:lpstr>
      <vt:lpstr>Supply Chain Optimization</vt:lpstr>
      <vt:lpstr>PowerPoint Presentation</vt:lpstr>
      <vt:lpstr>Fraud Detec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Pallavi Bothra</dc:creator>
  <cp:lastModifiedBy>Chuck Myron</cp:lastModifiedBy>
  <cp:revision>2</cp:revision>
  <dcterms:created xsi:type="dcterms:W3CDTF">2023-11-22T07:14:51Z</dcterms:created>
  <dcterms:modified xsi:type="dcterms:W3CDTF">2024-02-13T18:1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A7901D5220C942AD6FC03C7FA1979B</vt:lpwstr>
  </property>
</Properties>
</file>